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heme/themeOverride2.xml" ContentType="application/vnd.openxmlformats-officedocument.themeOverride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theme/themeOverride3.xml" ContentType="application/vnd.openxmlformats-officedocument.themeOverride+xml"/>
  <Override PartName="/ppt/notesSlides/notesSlide12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heme/themeOverride4.xml" ContentType="application/vnd.openxmlformats-officedocument.themeOverride+xml"/>
  <Override PartName="/ppt/charts/chart11.xml" ContentType="application/vnd.openxmlformats-officedocument.drawingml.chart+xml"/>
  <Override PartName="/ppt/theme/themeOverride5.xml" ContentType="application/vnd.openxmlformats-officedocument.themeOverride+xml"/>
  <Override PartName="/ppt/charts/chart12.xml" ContentType="application/vnd.openxmlformats-officedocument.drawingml.chart+xml"/>
  <Override PartName="/ppt/theme/themeOverride6.xml" ContentType="application/vnd.openxmlformats-officedocument.themeOverride+xml"/>
  <Override PartName="/ppt/charts/chart13.xml" ContentType="application/vnd.openxmlformats-officedocument.drawingml.chart+xml"/>
  <Override PartName="/ppt/theme/themeOverride7.xml" ContentType="application/vnd.openxmlformats-officedocument.themeOverride+xml"/>
  <Override PartName="/ppt/charts/chart14.xml" ContentType="application/vnd.openxmlformats-officedocument.drawingml.chart+xml"/>
  <Override PartName="/ppt/theme/themeOverride8.xml" ContentType="application/vnd.openxmlformats-officedocument.themeOverride+xml"/>
  <Override PartName="/ppt/notesSlides/notesSlide13.xml" ContentType="application/vnd.openxmlformats-officedocument.presentationml.notesSlide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drawings/drawing1.xml" ContentType="application/vnd.openxmlformats-officedocument.drawingml.chartshapes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notesSlides/notesSlide21.xml" ContentType="application/vnd.openxmlformats-officedocument.presentationml.notesSlide+xml"/>
  <Override PartName="/ppt/charts/chart24.xml" ContentType="application/vnd.openxmlformats-officedocument.drawingml.chart+xml"/>
  <Override PartName="/ppt/notesSlides/notesSlide22.xml" ContentType="application/vnd.openxmlformats-officedocument.presentationml.notesSlide+xml"/>
  <Override PartName="/ppt/charts/chart25.xml" ContentType="application/vnd.openxmlformats-officedocument.drawingml.chart+xml"/>
  <Override PartName="/ppt/notesSlides/notesSlide23.xml" ContentType="application/vnd.openxmlformats-officedocument.presentationml.notesSl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4"/>
    <p:sldMasterId id="2147483986" r:id="rId5"/>
    <p:sldMasterId id="2147484000" r:id="rId6"/>
    <p:sldMasterId id="2147484004" r:id="rId7"/>
    <p:sldMasterId id="2147484008" r:id="rId8"/>
    <p:sldMasterId id="2147484013" r:id="rId9"/>
  </p:sldMasterIdLst>
  <p:notesMasterIdLst>
    <p:notesMasterId r:id="rId34"/>
  </p:notesMasterIdLst>
  <p:handoutMasterIdLst>
    <p:handoutMasterId r:id="rId35"/>
  </p:handoutMasterIdLst>
  <p:sldIdLst>
    <p:sldId id="838" r:id="rId10"/>
    <p:sldId id="954" r:id="rId11"/>
    <p:sldId id="990" r:id="rId12"/>
    <p:sldId id="937" r:id="rId13"/>
    <p:sldId id="979" r:id="rId14"/>
    <p:sldId id="985" r:id="rId15"/>
    <p:sldId id="981" r:id="rId16"/>
    <p:sldId id="976" r:id="rId17"/>
    <p:sldId id="980" r:id="rId18"/>
    <p:sldId id="963" r:id="rId19"/>
    <p:sldId id="989" r:id="rId20"/>
    <p:sldId id="988" r:id="rId21"/>
    <p:sldId id="992" r:id="rId22"/>
    <p:sldId id="986" r:id="rId23"/>
    <p:sldId id="983" r:id="rId24"/>
    <p:sldId id="994" r:id="rId25"/>
    <p:sldId id="993" r:id="rId26"/>
    <p:sldId id="973" r:id="rId27"/>
    <p:sldId id="974" r:id="rId28"/>
    <p:sldId id="972" r:id="rId29"/>
    <p:sldId id="948" r:id="rId30"/>
    <p:sldId id="949" r:id="rId31"/>
    <p:sldId id="971" r:id="rId32"/>
    <p:sldId id="970" r:id="rId33"/>
  </p:sldIdLst>
  <p:sldSz cx="9144000" cy="6858000" type="screen4x3"/>
  <p:notesSz cx="6858000" cy="9296400"/>
  <p:custDataLst>
    <p:tags r:id="rId36"/>
  </p:custDataLst>
  <p:defaultTextStyle>
    <a:defPPr>
      <a:defRPr lang="en-US"/>
    </a:defPPr>
    <a:lvl1pPr algn="ctr" rtl="0" fontAlgn="base">
      <a:spcBef>
        <a:spcPct val="2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2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2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2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2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928">
          <p15:clr>
            <a:srgbClr val="A4A3A4"/>
          </p15:clr>
        </p15:guide>
        <p15:guide id="2" orient="horz" pos="1872">
          <p15:clr>
            <a:srgbClr val="A4A3A4"/>
          </p15:clr>
        </p15:guide>
        <p15:guide id="3" orient="horz" pos="2832">
          <p15:clr>
            <a:srgbClr val="A4A3A4"/>
          </p15:clr>
        </p15:guide>
        <p15:guide id="4" pos="3600">
          <p15:clr>
            <a:srgbClr val="A4A3A4"/>
          </p15:clr>
        </p15:guide>
        <p15:guide id="5" pos="528">
          <p15:clr>
            <a:srgbClr val="A4A3A4"/>
          </p15:clr>
        </p15:guide>
        <p15:guide id="6" pos="5520">
          <p15:clr>
            <a:srgbClr val="A4A3A4"/>
          </p15:clr>
        </p15:guide>
        <p15:guide id="7" pos="3072">
          <p15:clr>
            <a:srgbClr val="A4A3A4"/>
          </p15:clr>
        </p15:guide>
        <p15:guide id="8" orient="horz" pos="627">
          <p15:clr>
            <a:srgbClr val="A4A3A4"/>
          </p15:clr>
        </p15:guide>
        <p15:guide id="9" orient="horz" pos="4032">
          <p15:clr>
            <a:srgbClr val="A4A3A4"/>
          </p15:clr>
        </p15:guide>
        <p15:guide id="10" pos="222">
          <p15:clr>
            <a:srgbClr val="A4A3A4"/>
          </p15:clr>
        </p15:guide>
        <p15:guide id="11" orient="horz" pos="3193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09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es Wu" initials="" lastIdx="2" clrIdx="0"/>
  <p:cmAuthor id="1" name="Pallab Sarkar" initials="PS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1837"/>
    <a:srgbClr val="FFFFFF"/>
    <a:srgbClr val="AA1229"/>
    <a:srgbClr val="DDDDDD"/>
    <a:srgbClr val="E87722"/>
    <a:srgbClr val="82C24E"/>
    <a:srgbClr val="FFFF81"/>
    <a:srgbClr val="66CCFF"/>
    <a:srgbClr val="99FF99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698" autoAdjust="0"/>
    <p:restoredTop sz="83770" autoAdjust="0"/>
  </p:normalViewPr>
  <p:slideViewPr>
    <p:cSldViewPr snapToObjects="1">
      <p:cViewPr>
        <p:scale>
          <a:sx n="60" d="100"/>
          <a:sy n="60" d="100"/>
        </p:scale>
        <p:origin x="-1488" y="-312"/>
      </p:cViewPr>
      <p:guideLst>
        <p:guide orient="horz" pos="2928"/>
        <p:guide orient="horz" pos="1872"/>
        <p:guide orient="horz" pos="2832"/>
        <p:guide orient="horz" pos="627"/>
        <p:guide orient="horz" pos="4032"/>
        <p:guide orient="horz" pos="3193"/>
        <p:guide pos="3600"/>
        <p:guide pos="528"/>
        <p:guide pos="5520"/>
        <p:guide pos="3072"/>
        <p:guide pos="22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56" d="100"/>
          <a:sy n="56" d="100"/>
        </p:scale>
        <p:origin x="2808" y="42"/>
      </p:cViewPr>
      <p:guideLst>
        <p:guide orient="horz" pos="292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ags" Target="tags/tag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4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5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6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7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8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4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Chart%20in%20Microsoft%20PowerPoint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Chart%20in%20Microsoft%20PowerPoint" TargetMode="External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3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407829646938288"/>
          <c:y val="8.8396221096349786E-2"/>
          <c:w val="0.54291453590077621"/>
          <c:h val="0.8055283135880304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rgbClr val="E31837"/>
              </a:solidFill>
            </c:spPr>
          </c:dPt>
          <c:dPt>
            <c:idx val="1"/>
            <c:bubble3D val="0"/>
          </c:dPt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3.3</c:v>
                </c:pt>
                <c:pt idx="1">
                  <c:v>1.700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535659475069168"/>
          <c:y val="1.8264718001958651E-2"/>
          <c:w val="0.76928681049861658"/>
          <c:h val="0.96346967207704748"/>
        </c:manualLayout>
      </c:layout>
      <c:doughnutChart>
        <c:varyColors val="1"/>
        <c:ser>
          <c:idx val="0"/>
          <c:order val="0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chemeClr val="accent3"/>
              </a:solidFill>
              <a:ln>
                <a:solidFill>
                  <a:srgbClr val="FFFFFF"/>
                </a:solidFill>
              </a:ln>
            </c:spPr>
          </c:dPt>
          <c:dPt>
            <c:idx val="1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solidFill>
                  <a:srgbClr val="FFFFFF"/>
                </a:solidFill>
              </a:ln>
            </c:spPr>
          </c:dPt>
          <c:dLbls>
            <c:delete val="1"/>
          </c:dLbls>
          <c:val>
            <c:numRef>
              <c:f>Sheet1!$D$2:$D$3</c:f>
              <c:numCache>
                <c:formatCode>General</c:formatCode>
                <c:ptCount val="2"/>
                <c:pt idx="0">
                  <c:v>3.1</c:v>
                </c:pt>
                <c:pt idx="1">
                  <c:v>1.9</c:v>
                </c:pt>
              </c:numCache>
            </c:numRef>
          </c:val>
        </c:ser>
        <c:ser>
          <c:idx val="1"/>
          <c:order val="1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FFC000"/>
              </a:solidFill>
              <a:ln>
                <a:solidFill>
                  <a:srgbClr val="FFFFFF"/>
                </a:solidFill>
              </a:ln>
            </c:spPr>
          </c:dPt>
          <c:dPt>
            <c:idx val="1"/>
            <c:bubble3D val="0"/>
            <c:spPr>
              <a:solidFill>
                <a:srgbClr val="00B050"/>
              </a:solidFill>
              <a:ln>
                <a:solidFill>
                  <a:srgbClr val="FFFFFF"/>
                </a:solidFill>
              </a:ln>
            </c:spPr>
          </c:dPt>
          <c:dLbls>
            <c:delete val="1"/>
          </c:dLbls>
          <c:val>
            <c:numRef>
              <c:f>Sheet1!$E$2:$E$3</c:f>
              <c:numCache>
                <c:formatCode>General</c:formatCode>
                <c:ptCount val="2"/>
                <c:pt idx="0">
                  <c:v>3.15</c:v>
                </c:pt>
                <c:pt idx="1">
                  <c:v>1.8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42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535659475069168"/>
          <c:y val="1.8264718001958651E-2"/>
          <c:w val="0.76928681049861658"/>
          <c:h val="0.96346967207704748"/>
        </c:manualLayout>
      </c:layout>
      <c:doughnutChart>
        <c:varyColors val="1"/>
        <c:ser>
          <c:idx val="0"/>
          <c:order val="0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chemeClr val="accent3"/>
              </a:solidFill>
              <a:ln>
                <a:solidFill>
                  <a:srgbClr val="FFFFFF"/>
                </a:solidFill>
              </a:ln>
            </c:spPr>
          </c:dPt>
          <c:dPt>
            <c:idx val="1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solidFill>
                  <a:srgbClr val="FFFFFF"/>
                </a:solidFill>
              </a:ln>
            </c:spPr>
          </c:dPt>
          <c:dLbls>
            <c:delete val="1"/>
          </c:dLbls>
          <c:val>
            <c:numRef>
              <c:f>Sheet1!$D$2:$D$3</c:f>
              <c:numCache>
                <c:formatCode>General</c:formatCode>
                <c:ptCount val="2"/>
                <c:pt idx="0">
                  <c:v>2.94</c:v>
                </c:pt>
                <c:pt idx="1">
                  <c:v>2.06</c:v>
                </c:pt>
              </c:numCache>
            </c:numRef>
          </c:val>
        </c:ser>
        <c:ser>
          <c:idx val="1"/>
          <c:order val="1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FFC000"/>
              </a:solidFill>
              <a:ln>
                <a:solidFill>
                  <a:srgbClr val="FFFFFF"/>
                </a:solidFill>
              </a:ln>
            </c:spPr>
          </c:dPt>
          <c:dPt>
            <c:idx val="1"/>
            <c:bubble3D val="0"/>
            <c:spPr>
              <a:solidFill>
                <a:srgbClr val="00B050"/>
              </a:solidFill>
              <a:ln>
                <a:solidFill>
                  <a:srgbClr val="FFFFFF"/>
                </a:solidFill>
              </a:ln>
            </c:spPr>
          </c:dPt>
          <c:dLbls>
            <c:delete val="1"/>
          </c:dLbls>
          <c:val>
            <c:numRef>
              <c:f>Sheet1!$E$2:$E$3</c:f>
              <c:numCache>
                <c:formatCode>General</c:formatCode>
                <c:ptCount val="2"/>
                <c:pt idx="0">
                  <c:v>3.15</c:v>
                </c:pt>
                <c:pt idx="1">
                  <c:v>1.8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42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535659475069168"/>
          <c:y val="1.8264718001958651E-2"/>
          <c:w val="0.76928681049861658"/>
          <c:h val="0.96346967207704748"/>
        </c:manualLayout>
      </c:layout>
      <c:doughnutChart>
        <c:varyColors val="1"/>
        <c:ser>
          <c:idx val="0"/>
          <c:order val="0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chemeClr val="accent3"/>
              </a:solidFill>
              <a:ln>
                <a:solidFill>
                  <a:srgbClr val="FFFFFF"/>
                </a:solidFill>
              </a:ln>
            </c:spPr>
          </c:dPt>
          <c:dPt>
            <c:idx val="1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solidFill>
                  <a:srgbClr val="FFFFFF"/>
                </a:solidFill>
              </a:ln>
            </c:spPr>
          </c:dPt>
          <c:dLbls>
            <c:delete val="1"/>
          </c:dLbls>
          <c:val>
            <c:numRef>
              <c:f>Sheet1!$D$2:$D$3</c:f>
              <c:numCache>
                <c:formatCode>General</c:formatCode>
                <c:ptCount val="2"/>
                <c:pt idx="0">
                  <c:v>3.8</c:v>
                </c:pt>
                <c:pt idx="1">
                  <c:v>1.2000000000000002</c:v>
                </c:pt>
              </c:numCache>
            </c:numRef>
          </c:val>
        </c:ser>
        <c:ser>
          <c:idx val="1"/>
          <c:order val="1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FFC000"/>
              </a:solidFill>
              <a:ln>
                <a:solidFill>
                  <a:srgbClr val="FFFFFF"/>
                </a:solidFill>
              </a:ln>
            </c:spPr>
          </c:dPt>
          <c:dPt>
            <c:idx val="1"/>
            <c:bubble3D val="0"/>
            <c:spPr>
              <a:solidFill>
                <a:srgbClr val="00B050"/>
              </a:solidFill>
              <a:ln>
                <a:solidFill>
                  <a:srgbClr val="FFFFFF"/>
                </a:solidFill>
              </a:ln>
            </c:spPr>
          </c:dPt>
          <c:dLbls>
            <c:delete val="1"/>
          </c:dLbls>
          <c:val>
            <c:numRef>
              <c:f>Sheet1!$E$2:$E$3</c:f>
              <c:numCache>
                <c:formatCode>General</c:formatCode>
                <c:ptCount val="2"/>
                <c:pt idx="0">
                  <c:v>3.15</c:v>
                </c:pt>
                <c:pt idx="1">
                  <c:v>1.8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42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535659475069168"/>
          <c:y val="1.8264718001958651E-2"/>
          <c:w val="0.76928681049861658"/>
          <c:h val="0.96346967207704748"/>
        </c:manualLayout>
      </c:layout>
      <c:doughnutChart>
        <c:varyColors val="1"/>
        <c:ser>
          <c:idx val="0"/>
          <c:order val="0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chemeClr val="accent3"/>
              </a:solidFill>
              <a:ln>
                <a:solidFill>
                  <a:srgbClr val="FFFFFF"/>
                </a:solidFill>
              </a:ln>
            </c:spPr>
          </c:dPt>
          <c:dPt>
            <c:idx val="1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solidFill>
                  <a:srgbClr val="FFFFFF"/>
                </a:solidFill>
              </a:ln>
            </c:spPr>
          </c:dPt>
          <c:dLbls>
            <c:delete val="1"/>
          </c:dLbls>
          <c:val>
            <c:numRef>
              <c:f>Sheet1!$D$2:$D$3</c:f>
              <c:numCache>
                <c:formatCode>General</c:formatCode>
                <c:ptCount val="2"/>
                <c:pt idx="0">
                  <c:v>3.2</c:v>
                </c:pt>
                <c:pt idx="1">
                  <c:v>1.7999999999999998</c:v>
                </c:pt>
              </c:numCache>
            </c:numRef>
          </c:val>
        </c:ser>
        <c:ser>
          <c:idx val="1"/>
          <c:order val="1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FFC000"/>
              </a:solidFill>
              <a:ln>
                <a:solidFill>
                  <a:srgbClr val="FFFFFF"/>
                </a:solidFill>
              </a:ln>
            </c:spPr>
          </c:dPt>
          <c:dPt>
            <c:idx val="1"/>
            <c:bubble3D val="0"/>
            <c:spPr>
              <a:solidFill>
                <a:srgbClr val="00B050"/>
              </a:solidFill>
              <a:ln>
                <a:solidFill>
                  <a:srgbClr val="FFFFFF"/>
                </a:solidFill>
              </a:ln>
            </c:spPr>
          </c:dPt>
          <c:dLbls>
            <c:delete val="1"/>
          </c:dLbls>
          <c:val>
            <c:numRef>
              <c:f>Sheet1!$E$2:$E$3</c:f>
              <c:numCache>
                <c:formatCode>General</c:formatCode>
                <c:ptCount val="2"/>
                <c:pt idx="0">
                  <c:v>3.15</c:v>
                </c:pt>
                <c:pt idx="1">
                  <c:v>1.8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42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535659475069168"/>
          <c:y val="1.8264718001958651E-2"/>
          <c:w val="0.76928681049861658"/>
          <c:h val="0.96346967207704748"/>
        </c:manualLayout>
      </c:layout>
      <c:doughnutChart>
        <c:varyColors val="1"/>
        <c:ser>
          <c:idx val="0"/>
          <c:order val="0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chemeClr val="accent3"/>
              </a:solidFill>
              <a:ln>
                <a:solidFill>
                  <a:srgbClr val="FFFFFF"/>
                </a:solidFill>
              </a:ln>
            </c:spPr>
          </c:dPt>
          <c:dPt>
            <c:idx val="1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solidFill>
                  <a:srgbClr val="FFFFFF"/>
                </a:solidFill>
              </a:ln>
            </c:spPr>
          </c:dPt>
          <c:dLbls>
            <c:delete val="1"/>
          </c:dLbls>
          <c:val>
            <c:numRef>
              <c:f>Sheet1!$D$2:$D$3</c:f>
              <c:numCache>
                <c:formatCode>General</c:formatCode>
                <c:ptCount val="2"/>
                <c:pt idx="0">
                  <c:v>3.3</c:v>
                </c:pt>
                <c:pt idx="1">
                  <c:v>1.7000000000000002</c:v>
                </c:pt>
              </c:numCache>
            </c:numRef>
          </c:val>
        </c:ser>
        <c:ser>
          <c:idx val="1"/>
          <c:order val="1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FFC000"/>
              </a:solidFill>
              <a:ln>
                <a:solidFill>
                  <a:srgbClr val="FFFFFF"/>
                </a:solidFill>
              </a:ln>
            </c:spPr>
          </c:dPt>
          <c:dPt>
            <c:idx val="1"/>
            <c:bubble3D val="0"/>
            <c:spPr>
              <a:solidFill>
                <a:srgbClr val="00B050"/>
              </a:solidFill>
              <a:ln>
                <a:solidFill>
                  <a:srgbClr val="FFFFFF"/>
                </a:solidFill>
              </a:ln>
            </c:spPr>
          </c:dPt>
          <c:dLbls>
            <c:delete val="1"/>
          </c:dLbls>
          <c:val>
            <c:numRef>
              <c:f>Sheet1!$E$2:$E$3</c:f>
              <c:numCache>
                <c:formatCode>General</c:formatCode>
                <c:ptCount val="2"/>
                <c:pt idx="0">
                  <c:v>3.15</c:v>
                </c:pt>
                <c:pt idx="1">
                  <c:v>1.8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42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160799548432538"/>
          <c:y val="5.8718689280305825E-2"/>
          <c:w val="0.81260342771673699"/>
          <c:h val="0.63324558074818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dividual Avg. Rating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JDPA</c:v>
                </c:pt>
                <c:pt idx="1">
                  <c:v>MHFI</c:v>
                </c:pt>
                <c:pt idx="2">
                  <c:v>Platts</c:v>
                </c:pt>
                <c:pt idx="3">
                  <c:v>S&amp;P CAP IQ</c:v>
                </c:pt>
                <c:pt idx="4">
                  <c:v>S&amp;P Ratings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.3796992481203008</c:v>
                </c:pt>
                <c:pt idx="1">
                  <c:v>2.7166064981949458</c:v>
                </c:pt>
                <c:pt idx="2">
                  <c:v>2.2685185185185186</c:v>
                </c:pt>
                <c:pt idx="3">
                  <c:v>2.6384439359267735</c:v>
                </c:pt>
                <c:pt idx="4">
                  <c:v>2.65616797900262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7"/>
        <c:axId val="77293440"/>
        <c:axId val="7729497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Overall Avg. Rating</c:v>
                </c:pt>
              </c:strCache>
            </c:strRef>
          </c:tx>
          <c:spPr>
            <a:ln>
              <a:prstDash val="sysDot"/>
            </a:ln>
          </c:spPr>
          <c:marker>
            <c:symbol val="none"/>
          </c:marker>
          <c:dLbls>
            <c:dLbl>
              <c:idx val="0"/>
              <c:delete val="1"/>
            </c:dLbl>
            <c:dLbl>
              <c:idx val="1"/>
              <c:layout>
                <c:manualLayout>
                  <c:x val="-0.26523166024543637"/>
                  <c:y val="-5.578306225778003E-3"/>
                </c:manualLayout>
              </c:layout>
              <c:tx>
                <c:rich>
                  <a:bodyPr/>
                  <a:lstStyle/>
                  <a:p>
                    <a:r>
                      <a:rPr lang="en-US" sz="1000" b="1" dirty="0" smtClean="0"/>
                      <a:t>2.6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txPr>
              <a:bodyPr/>
              <a:lstStyle/>
              <a:p>
                <a:pPr>
                  <a:defRPr sz="10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JDPA</c:v>
                </c:pt>
                <c:pt idx="1">
                  <c:v>MHFI</c:v>
                </c:pt>
                <c:pt idx="2">
                  <c:v>Platts</c:v>
                </c:pt>
                <c:pt idx="3">
                  <c:v>S&amp;P CAP IQ</c:v>
                </c:pt>
                <c:pt idx="4">
                  <c:v>S&amp;P Ratings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6181747269890794</c:v>
                </c:pt>
                <c:pt idx="1">
                  <c:v>2.6181747269890794</c:v>
                </c:pt>
                <c:pt idx="2">
                  <c:v>2.6181747269890794</c:v>
                </c:pt>
                <c:pt idx="3">
                  <c:v>2.6181747269890794</c:v>
                </c:pt>
                <c:pt idx="4">
                  <c:v>2.618174726989079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7293440"/>
        <c:axId val="77294976"/>
      </c:lineChart>
      <c:catAx>
        <c:axId val="772934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 sz="1000" b="1"/>
            </a:pPr>
            <a:endParaRPr lang="en-US"/>
          </a:p>
        </c:txPr>
        <c:crossAx val="77294976"/>
        <c:crosses val="autoZero"/>
        <c:auto val="1"/>
        <c:lblAlgn val="ctr"/>
        <c:lblOffset val="100"/>
        <c:noMultiLvlLbl val="0"/>
      </c:catAx>
      <c:valAx>
        <c:axId val="77294976"/>
        <c:scaling>
          <c:orientation val="minMax"/>
          <c:max val="5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77293440"/>
        <c:crosses val="autoZero"/>
        <c:crossBetween val="between"/>
        <c:majorUnit val="1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242086799410661"/>
          <c:y val="5.8718689280305825E-2"/>
          <c:w val="0.80819625763391956"/>
          <c:h val="0.63324558074818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dividual Avg. Rating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JDPA</c:v>
                </c:pt>
                <c:pt idx="1">
                  <c:v>MHFI</c:v>
                </c:pt>
                <c:pt idx="2">
                  <c:v>Platts</c:v>
                </c:pt>
                <c:pt idx="3">
                  <c:v>S&amp;P CAP IQ</c:v>
                </c:pt>
                <c:pt idx="4">
                  <c:v>S&amp;P Ratings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.8759398496240602</c:v>
                </c:pt>
                <c:pt idx="1">
                  <c:v>3.2039711191335738</c:v>
                </c:pt>
                <c:pt idx="2">
                  <c:v>2.9166666666666665</c:v>
                </c:pt>
                <c:pt idx="3">
                  <c:v>3.0789473684210527</c:v>
                </c:pt>
                <c:pt idx="4">
                  <c:v>2.90944881889763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7"/>
        <c:axId val="77332864"/>
        <c:axId val="773344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Overall Avg. Rating</c:v>
                </c:pt>
              </c:strCache>
            </c:strRef>
          </c:tx>
          <c:spPr>
            <a:ln>
              <a:prstDash val="sysDot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0.10405356496561709"/>
                  <c:y val="-1.6733601070950468E-2"/>
                </c:manualLayout>
              </c:layout>
              <c:tx>
                <c:rich>
                  <a:bodyPr/>
                  <a:lstStyle/>
                  <a:p>
                    <a:r>
                      <a:rPr lang="en-US" sz="1000" b="1" i="0" u="none" strike="noStrike" kern="1200" baseline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rPr>
                      <a:t>3.0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txPr>
              <a:bodyPr/>
              <a:lstStyle/>
              <a:p>
                <a:pPr algn="ctr" rtl="0">
                  <a:defRPr lang="en-US" sz="1000" b="1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JDPA</c:v>
                </c:pt>
                <c:pt idx="1">
                  <c:v>MHFI</c:v>
                </c:pt>
                <c:pt idx="2">
                  <c:v>Platts</c:v>
                </c:pt>
                <c:pt idx="3">
                  <c:v>S&amp;P CAP IQ</c:v>
                </c:pt>
                <c:pt idx="4">
                  <c:v>S&amp;P Ratings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3.0276911076443058</c:v>
                </c:pt>
                <c:pt idx="1">
                  <c:v>3.0276911076443058</c:v>
                </c:pt>
                <c:pt idx="2">
                  <c:v>3.0276911076443058</c:v>
                </c:pt>
                <c:pt idx="3">
                  <c:v>3.0276911076443058</c:v>
                </c:pt>
                <c:pt idx="4">
                  <c:v>3.02769110764430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7332864"/>
        <c:axId val="77334400"/>
      </c:lineChart>
      <c:catAx>
        <c:axId val="77332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 sz="1000" b="1"/>
            </a:pPr>
            <a:endParaRPr lang="en-US"/>
          </a:p>
        </c:txPr>
        <c:crossAx val="77334400"/>
        <c:crosses val="autoZero"/>
        <c:auto val="1"/>
        <c:lblAlgn val="ctr"/>
        <c:lblOffset val="100"/>
        <c:noMultiLvlLbl val="0"/>
      </c:catAx>
      <c:valAx>
        <c:axId val="77334400"/>
        <c:scaling>
          <c:orientation val="minMax"/>
          <c:max val="5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77332864"/>
        <c:crosses val="autoZero"/>
        <c:crossBetween val="between"/>
        <c:majorUnit val="1"/>
      </c:valAx>
    </c:plotArea>
    <c:plotVisOnly val="1"/>
    <c:dispBlanksAs val="gap"/>
    <c:showDLblsOverMax val="0"/>
  </c:chart>
  <c:txPr>
    <a:bodyPr/>
    <a:lstStyle/>
    <a:p>
      <a:pPr>
        <a:defRPr sz="800"/>
      </a:pPr>
      <a:endParaRPr lang="en-US"/>
    </a:p>
  </c:txPr>
  <c:externalData r:id="rId1">
    <c:autoUpdate val="0"/>
  </c:externalData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694493603608996"/>
          <c:y val="5.8718689280305825E-2"/>
          <c:w val="0.80819625763391956"/>
          <c:h val="0.63324558074818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dividual Avg. Rating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JDPA</c:v>
                </c:pt>
                <c:pt idx="1">
                  <c:v>MHFI</c:v>
                </c:pt>
                <c:pt idx="2">
                  <c:v>Platts</c:v>
                </c:pt>
                <c:pt idx="3">
                  <c:v>S&amp;P CAP IQ</c:v>
                </c:pt>
                <c:pt idx="4">
                  <c:v>S&amp;P Ratings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.3045112781954886</c:v>
                </c:pt>
                <c:pt idx="1">
                  <c:v>2.4187725631768955</c:v>
                </c:pt>
                <c:pt idx="2">
                  <c:v>2.1481481481481484</c:v>
                </c:pt>
                <c:pt idx="3">
                  <c:v>2.5228832951945082</c:v>
                </c:pt>
                <c:pt idx="4">
                  <c:v>2.45275590551181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7"/>
        <c:axId val="77388800"/>
        <c:axId val="773905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Overall Avg. Rating</c:v>
                </c:pt>
              </c:strCache>
            </c:strRef>
          </c:tx>
          <c:spPr>
            <a:ln>
              <a:prstDash val="sysDot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0.11310170104958378"/>
                  <c:y val="-2.2311468094600623E-2"/>
                </c:manualLayout>
              </c:layout>
              <c:tx>
                <c:rich>
                  <a:bodyPr/>
                  <a:lstStyle/>
                  <a:p>
                    <a:r>
                      <a:rPr lang="en-US" sz="1000" dirty="0" smtClean="0"/>
                      <a:t>2.44</a:t>
                    </a:r>
                    <a:endParaRPr lang="en-US" sz="100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JDPA</c:v>
                </c:pt>
                <c:pt idx="1">
                  <c:v>MHFI</c:v>
                </c:pt>
                <c:pt idx="2">
                  <c:v>Platts</c:v>
                </c:pt>
                <c:pt idx="3">
                  <c:v>S&amp;P CAP IQ</c:v>
                </c:pt>
                <c:pt idx="4">
                  <c:v>S&amp;P Ratings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4411076443057724</c:v>
                </c:pt>
                <c:pt idx="1">
                  <c:v>2.4411076443057724</c:v>
                </c:pt>
                <c:pt idx="2">
                  <c:v>2.4411076443057724</c:v>
                </c:pt>
                <c:pt idx="3">
                  <c:v>2.4411076443057724</c:v>
                </c:pt>
                <c:pt idx="4">
                  <c:v>2.441107644305772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7388800"/>
        <c:axId val="77390592"/>
      </c:lineChart>
      <c:catAx>
        <c:axId val="773888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 sz="1000"/>
            </a:pPr>
            <a:endParaRPr lang="en-US"/>
          </a:p>
        </c:txPr>
        <c:crossAx val="77390592"/>
        <c:crosses val="autoZero"/>
        <c:auto val="1"/>
        <c:lblAlgn val="ctr"/>
        <c:lblOffset val="100"/>
        <c:noMultiLvlLbl val="0"/>
      </c:catAx>
      <c:valAx>
        <c:axId val="77390592"/>
        <c:scaling>
          <c:orientation val="minMax"/>
          <c:max val="5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77388800"/>
        <c:crosses val="autoZero"/>
        <c:crossBetween val="between"/>
        <c:majorUnit val="1"/>
      </c:valAx>
    </c:plotArea>
    <c:plotVisOnly val="1"/>
    <c:dispBlanksAs val="gap"/>
    <c:showDLblsOverMax val="0"/>
  </c:chart>
  <c:txPr>
    <a:bodyPr/>
    <a:lstStyle/>
    <a:p>
      <a:pPr>
        <a:defRPr sz="800" b="1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141055212272995"/>
          <c:y val="4.2906729050173079E-2"/>
          <c:w val="0.87014779680436283"/>
          <c:h val="0.6389131385750693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dividual Avg. Rating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JDPA</c:v>
                </c:pt>
                <c:pt idx="1">
                  <c:v>MHFI</c:v>
                </c:pt>
                <c:pt idx="2">
                  <c:v>Platts</c:v>
                </c:pt>
                <c:pt idx="3">
                  <c:v>S&amp;P CAP IQ</c:v>
                </c:pt>
                <c:pt idx="4">
                  <c:v>S&amp;P Ratings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.0601503759398496</c:v>
                </c:pt>
                <c:pt idx="1">
                  <c:v>3.3086642599277978</c:v>
                </c:pt>
                <c:pt idx="2">
                  <c:v>3.0648148148148149</c:v>
                </c:pt>
                <c:pt idx="3">
                  <c:v>3.5354691075514872</c:v>
                </c:pt>
                <c:pt idx="4">
                  <c:v>3.468503937007874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7"/>
        <c:axId val="77477376"/>
        <c:axId val="774789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Overall Avg. Rating</c:v>
                </c:pt>
              </c:strCache>
            </c:strRef>
          </c:tx>
          <c:spPr>
            <a:ln>
              <a:prstDash val="sysDot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0.10171276954590595"/>
                  <c:y val="-3.623188405797101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.4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txPr>
              <a:bodyPr/>
              <a:lstStyle/>
              <a:p>
                <a:pPr>
                  <a:defRPr sz="10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JDPA</c:v>
                </c:pt>
                <c:pt idx="1">
                  <c:v>MHFI</c:v>
                </c:pt>
                <c:pt idx="2">
                  <c:v>Platts</c:v>
                </c:pt>
                <c:pt idx="3">
                  <c:v>S&amp;P CAP IQ</c:v>
                </c:pt>
                <c:pt idx="4">
                  <c:v>S&amp;P Ratings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3.3974258970358813</c:v>
                </c:pt>
                <c:pt idx="1">
                  <c:v>3.3974258970358813</c:v>
                </c:pt>
                <c:pt idx="2">
                  <c:v>3.3974258970358813</c:v>
                </c:pt>
                <c:pt idx="3">
                  <c:v>3.3974258970358813</c:v>
                </c:pt>
                <c:pt idx="4">
                  <c:v>3.397425897035881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7477376"/>
        <c:axId val="77478912"/>
      </c:lineChart>
      <c:catAx>
        <c:axId val="77477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 sz="1000" b="1"/>
            </a:pPr>
            <a:endParaRPr lang="en-US"/>
          </a:p>
        </c:txPr>
        <c:crossAx val="77478912"/>
        <c:crosses val="autoZero"/>
        <c:auto val="1"/>
        <c:lblAlgn val="ctr"/>
        <c:lblOffset val="100"/>
        <c:noMultiLvlLbl val="0"/>
      </c:catAx>
      <c:valAx>
        <c:axId val="77478912"/>
        <c:scaling>
          <c:orientation val="minMax"/>
          <c:max val="5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77477376"/>
        <c:crosses val="autoZero"/>
        <c:crossBetween val="between"/>
        <c:majorUnit val="1"/>
      </c:valAx>
    </c:plotArea>
    <c:plotVisOnly val="1"/>
    <c:dispBlanksAs val="gap"/>
    <c:showDLblsOverMax val="0"/>
  </c:chart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36899705555262"/>
          <c:y val="4.2906729050173079E-2"/>
          <c:w val="0.85519475227969743"/>
          <c:h val="0.643019418768306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dividual Avg. Rating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JDPA</c:v>
                </c:pt>
                <c:pt idx="1">
                  <c:v>MHFI</c:v>
                </c:pt>
                <c:pt idx="2">
                  <c:v>Platts</c:v>
                </c:pt>
                <c:pt idx="3">
                  <c:v>S&amp;P CAP IQ</c:v>
                </c:pt>
                <c:pt idx="4">
                  <c:v>S&amp;P Ratings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.6165413533834587</c:v>
                </c:pt>
                <c:pt idx="1">
                  <c:v>1.8158844765342961</c:v>
                </c:pt>
                <c:pt idx="2">
                  <c:v>1.9259259259259258</c:v>
                </c:pt>
                <c:pt idx="3">
                  <c:v>2.6315789473684212</c:v>
                </c:pt>
                <c:pt idx="4">
                  <c:v>1.858267716535433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7"/>
        <c:axId val="77705600"/>
        <c:axId val="777071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Overall Avg. Rating</c:v>
                </c:pt>
              </c:strCache>
            </c:strRef>
          </c:tx>
          <c:spPr>
            <a:ln>
              <a:prstDash val="sysDot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8.6741319626807423E-2"/>
                  <c:y val="-2.4154589371980676E-2"/>
                </c:manualLayout>
              </c:layout>
              <c:tx>
                <c:rich>
                  <a:bodyPr/>
                  <a:lstStyle/>
                  <a:p>
                    <a:pPr>
                      <a:defRPr sz="1000" b="1"/>
                    </a:pPr>
                    <a:r>
                      <a:rPr lang="en-US" sz="1000" b="1" dirty="0" smtClean="0"/>
                      <a:t>2.09</a:t>
                    </a:r>
                    <a:endParaRPr lang="en-US" sz="1000" b="1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JDPA</c:v>
                </c:pt>
                <c:pt idx="1">
                  <c:v>MHFI</c:v>
                </c:pt>
                <c:pt idx="2">
                  <c:v>Platts</c:v>
                </c:pt>
                <c:pt idx="3">
                  <c:v>S&amp;P CAP IQ</c:v>
                </c:pt>
                <c:pt idx="4">
                  <c:v>S&amp;P Ratings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090483619344774</c:v>
                </c:pt>
                <c:pt idx="1">
                  <c:v>2.090483619344774</c:v>
                </c:pt>
                <c:pt idx="2">
                  <c:v>2.090483619344774</c:v>
                </c:pt>
                <c:pt idx="3">
                  <c:v>2.090483619344774</c:v>
                </c:pt>
                <c:pt idx="4">
                  <c:v>2.09048361934477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7705600"/>
        <c:axId val="77707136"/>
      </c:lineChart>
      <c:catAx>
        <c:axId val="77705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 sz="1000" b="1"/>
            </a:pPr>
            <a:endParaRPr lang="en-US"/>
          </a:p>
        </c:txPr>
        <c:crossAx val="77707136"/>
        <c:crosses val="autoZero"/>
        <c:auto val="1"/>
        <c:lblAlgn val="ctr"/>
        <c:lblOffset val="100"/>
        <c:noMultiLvlLbl val="0"/>
      </c:catAx>
      <c:valAx>
        <c:axId val="77707136"/>
        <c:scaling>
          <c:orientation val="minMax"/>
          <c:max val="5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77705600"/>
        <c:crosses val="autoZero"/>
        <c:crossBetween val="between"/>
        <c:majorUnit val="1"/>
      </c:valAx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0387761529808773E-2"/>
          <c:y val="5.7394796302995037E-2"/>
          <c:w val="0.61260961734488706"/>
          <c:h val="0.8008034532873473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E$16</c:f>
              <c:strCache>
                <c:ptCount val="1"/>
                <c:pt idx="0">
                  <c:v># of Reviews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invertIfNegative val="0"/>
          <c:cat>
            <c:numRef>
              <c:f>Sheet1!$F$15:$L$15</c:f>
              <c:numCache>
                <c:formatCode>General</c:formatCode>
                <c:ptCount val="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</c:numCache>
            </c:numRef>
          </c:cat>
          <c:val>
            <c:numRef>
              <c:f>Sheet1!$F$16:$L$16</c:f>
              <c:numCache>
                <c:formatCode>General</c:formatCode>
                <c:ptCount val="7"/>
                <c:pt idx="0">
                  <c:v>3</c:v>
                </c:pt>
                <c:pt idx="1">
                  <c:v>7</c:v>
                </c:pt>
                <c:pt idx="2">
                  <c:v>24</c:v>
                </c:pt>
                <c:pt idx="3">
                  <c:v>52</c:v>
                </c:pt>
                <c:pt idx="4">
                  <c:v>73</c:v>
                </c:pt>
                <c:pt idx="5">
                  <c:v>99</c:v>
                </c:pt>
                <c:pt idx="6">
                  <c:v>17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0561792"/>
        <c:axId val="70563328"/>
      </c:barChart>
      <c:lineChart>
        <c:grouping val="standard"/>
        <c:varyColors val="0"/>
        <c:ser>
          <c:idx val="2"/>
          <c:order val="1"/>
          <c:tx>
            <c:strRef>
              <c:f>Sheet1!$E$17</c:f>
              <c:strCache>
                <c:ptCount val="1"/>
                <c:pt idx="0">
                  <c:v>Average Ratings</c:v>
                </c:pt>
              </c:strCache>
            </c:strRef>
          </c:tx>
          <c:spPr>
            <a:ln>
              <a:solidFill>
                <a:srgbClr val="00B0F0"/>
              </a:solidFill>
            </a:ln>
          </c:spPr>
          <c:marker>
            <c:symbol val="none"/>
          </c:marker>
          <c:dLbls>
            <c:dLbl>
              <c:idx val="6"/>
              <c:layout>
                <c:manualLayout>
                  <c:x val="-5.9988541432320963E-2"/>
                  <c:y val="-0.1456876721648751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Sheet1!$F$17:$L$17</c:f>
              <c:numCache>
                <c:formatCode>0.00</c:formatCode>
                <c:ptCount val="7"/>
                <c:pt idx="0">
                  <c:v>2.6666666666666665</c:v>
                </c:pt>
                <c:pt idx="1">
                  <c:v>3</c:v>
                </c:pt>
                <c:pt idx="2">
                  <c:v>3.1666666666666665</c:v>
                </c:pt>
                <c:pt idx="3">
                  <c:v>3.4038461538461537</c:v>
                </c:pt>
                <c:pt idx="4">
                  <c:v>3.1506849315068495</c:v>
                </c:pt>
                <c:pt idx="5">
                  <c:v>3.3434343434343434</c:v>
                </c:pt>
                <c:pt idx="6">
                  <c:v>3.351955307262569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0566656"/>
        <c:axId val="70564864"/>
      </c:lineChart>
      <c:catAx>
        <c:axId val="705617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70563328"/>
        <c:crosses val="autoZero"/>
        <c:auto val="1"/>
        <c:lblAlgn val="ctr"/>
        <c:lblOffset val="100"/>
        <c:noMultiLvlLbl val="0"/>
      </c:catAx>
      <c:valAx>
        <c:axId val="7056332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70561792"/>
        <c:crosses val="autoZero"/>
        <c:crossBetween val="between"/>
      </c:valAx>
      <c:valAx>
        <c:axId val="70564864"/>
        <c:scaling>
          <c:orientation val="minMax"/>
          <c:max val="4"/>
          <c:min val="0"/>
        </c:scaling>
        <c:delete val="0"/>
        <c:axPos val="r"/>
        <c:numFmt formatCode="0.00" sourceLinked="1"/>
        <c:majorTickMark val="out"/>
        <c:minorTickMark val="none"/>
        <c:tickLblPos val="nextTo"/>
        <c:crossAx val="70566656"/>
        <c:crosses val="max"/>
        <c:crossBetween val="between"/>
        <c:majorUnit val="1"/>
      </c:valAx>
      <c:catAx>
        <c:axId val="70566656"/>
        <c:scaling>
          <c:orientation val="minMax"/>
        </c:scaling>
        <c:delete val="1"/>
        <c:axPos val="b"/>
        <c:majorTickMark val="out"/>
        <c:minorTickMark val="none"/>
        <c:tickLblPos val="nextTo"/>
        <c:crossAx val="70564864"/>
        <c:crosses val="autoZero"/>
        <c:auto val="1"/>
        <c:lblAlgn val="ctr"/>
        <c:lblOffset val="100"/>
        <c:noMultiLvlLbl val="0"/>
      </c:catAx>
    </c:plotArea>
    <c:legend>
      <c:legendPos val="r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# Review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4</c:f>
              <c:strCache>
                <c:ptCount val="13"/>
                <c:pt idx="0">
                  <c:v>Undisclosed</c:v>
                </c:pt>
                <c:pt idx="1">
                  <c:v>New York </c:v>
                </c:pt>
                <c:pt idx="2">
                  <c:v>Andhra Pradesh</c:v>
                </c:pt>
                <c:pt idx="3">
                  <c:v>Haryana</c:v>
                </c:pt>
                <c:pt idx="4">
                  <c:v>England</c:v>
                </c:pt>
                <c:pt idx="5">
                  <c:v>Delhi</c:v>
                </c:pt>
                <c:pt idx="6">
                  <c:v>Hong Kong</c:v>
                </c:pt>
                <c:pt idx="7">
                  <c:v>Federal Capital</c:v>
                </c:pt>
                <c:pt idx="8">
                  <c:v>Illinois</c:v>
                </c:pt>
                <c:pt idx="9">
                  <c:v>Manila</c:v>
                </c:pt>
                <c:pt idx="10">
                  <c:v>Colorado</c:v>
                </c:pt>
                <c:pt idx="11">
                  <c:v>New Jersey</c:v>
                </c:pt>
                <c:pt idx="12">
                  <c:v>Massachusetts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141</c:v>
                </c:pt>
                <c:pt idx="1">
                  <c:v>94</c:v>
                </c:pt>
                <c:pt idx="2">
                  <c:v>76</c:v>
                </c:pt>
                <c:pt idx="3">
                  <c:v>68</c:v>
                </c:pt>
                <c:pt idx="4">
                  <c:v>19</c:v>
                </c:pt>
                <c:pt idx="5">
                  <c:v>7</c:v>
                </c:pt>
                <c:pt idx="6">
                  <c:v>6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7"/>
        <c:axId val="77785728"/>
        <c:axId val="77787520"/>
      </c:barChart>
      <c:lineChart>
        <c:grouping val="stack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g. Rating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10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2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 sz="900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Undisclosed</c:v>
                </c:pt>
                <c:pt idx="1">
                  <c:v>New York </c:v>
                </c:pt>
                <c:pt idx="2">
                  <c:v>Andhra Pradesh</c:v>
                </c:pt>
                <c:pt idx="3">
                  <c:v>Haryana</c:v>
                </c:pt>
                <c:pt idx="4">
                  <c:v>England</c:v>
                </c:pt>
                <c:pt idx="5">
                  <c:v>Delhi</c:v>
                </c:pt>
                <c:pt idx="6">
                  <c:v>Hong Kong</c:v>
                </c:pt>
                <c:pt idx="7">
                  <c:v>Federal Capital</c:v>
                </c:pt>
                <c:pt idx="8">
                  <c:v>Illinois</c:v>
                </c:pt>
                <c:pt idx="9">
                  <c:v>Manila</c:v>
                </c:pt>
                <c:pt idx="10">
                  <c:v>Colorado</c:v>
                </c:pt>
                <c:pt idx="11">
                  <c:v>New Jersey</c:v>
                </c:pt>
                <c:pt idx="12">
                  <c:v>Massachusetts</c:v>
                </c:pt>
              </c:strCache>
            </c:strRef>
          </c:cat>
          <c:val>
            <c:numRef>
              <c:f>Sheet1!$C$2:$C$14</c:f>
              <c:numCache>
                <c:formatCode>General</c:formatCode>
                <c:ptCount val="13"/>
                <c:pt idx="0">
                  <c:v>3.3051282051282049</c:v>
                </c:pt>
                <c:pt idx="1">
                  <c:v>3.1040462427745665</c:v>
                </c:pt>
                <c:pt idx="2">
                  <c:v>3.6095238095238096</c:v>
                </c:pt>
                <c:pt idx="3">
                  <c:v>3.4375</c:v>
                </c:pt>
                <c:pt idx="4">
                  <c:v>3.1428571428571428</c:v>
                </c:pt>
                <c:pt idx="5">
                  <c:v>3.7</c:v>
                </c:pt>
                <c:pt idx="6">
                  <c:v>4</c:v>
                </c:pt>
                <c:pt idx="7">
                  <c:v>3.1666666666666665</c:v>
                </c:pt>
                <c:pt idx="8">
                  <c:v>3.75</c:v>
                </c:pt>
                <c:pt idx="9">
                  <c:v>3.3333333333333335</c:v>
                </c:pt>
                <c:pt idx="10">
                  <c:v>1.875</c:v>
                </c:pt>
                <c:pt idx="11">
                  <c:v>3</c:v>
                </c:pt>
                <c:pt idx="12">
                  <c:v>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7795712"/>
        <c:axId val="77789440"/>
      </c:lineChart>
      <c:catAx>
        <c:axId val="777857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vert="horz"/>
          <a:lstStyle/>
          <a:p>
            <a:pPr>
              <a:defRPr sz="800"/>
            </a:pPr>
            <a:endParaRPr lang="en-US"/>
          </a:p>
        </c:txPr>
        <c:crossAx val="77787520"/>
        <c:crosses val="autoZero"/>
        <c:auto val="1"/>
        <c:lblAlgn val="ctr"/>
        <c:lblOffset val="100"/>
        <c:noMultiLvlLbl val="0"/>
      </c:catAx>
      <c:valAx>
        <c:axId val="77787520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/>
                  <a:t># Review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7785728"/>
        <c:crosses val="autoZero"/>
        <c:crossBetween val="between"/>
      </c:valAx>
      <c:valAx>
        <c:axId val="77789440"/>
        <c:scaling>
          <c:orientation val="minMax"/>
          <c:max val="5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/>
                  <a:t>Avg. Rating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" sourceLinked="0"/>
        <c:majorTickMark val="out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7795712"/>
        <c:crosses val="max"/>
        <c:crossBetween val="between"/>
        <c:majorUnit val="1"/>
      </c:valAx>
      <c:catAx>
        <c:axId val="77795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778944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solidFill>
      <a:srgbClr val="FFFFFF"/>
    </a:solidFill>
    <a:ln>
      <a:solidFill>
        <a:schemeClr val="accent1"/>
      </a:solidFill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#Review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rgbClr val="FFFFFF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Undisclosed</c:v>
                </c:pt>
                <c:pt idx="1">
                  <c:v>New York </c:v>
                </c:pt>
                <c:pt idx="2">
                  <c:v>Andhra Pradesh</c:v>
                </c:pt>
                <c:pt idx="3">
                  <c:v>Haryana</c:v>
                </c:pt>
                <c:pt idx="4">
                  <c:v>England</c:v>
                </c:pt>
                <c:pt idx="5">
                  <c:v>Delhi</c:v>
                </c:pt>
                <c:pt idx="6">
                  <c:v>Hong Kong</c:v>
                </c:pt>
                <c:pt idx="7">
                  <c:v>Federal Capital</c:v>
                </c:pt>
                <c:pt idx="8">
                  <c:v>Illinois</c:v>
                </c:pt>
                <c:pt idx="9">
                  <c:v>Manila</c:v>
                </c:pt>
                <c:pt idx="10">
                  <c:v>Colorado</c:v>
                </c:pt>
                <c:pt idx="11">
                  <c:v>New Jersey</c:v>
                </c:pt>
                <c:pt idx="12">
                  <c:v>Massachusetts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16312056737588654</c:v>
                </c:pt>
                <c:pt idx="1">
                  <c:v>0.26595744680851063</c:v>
                </c:pt>
                <c:pt idx="2">
                  <c:v>0.55263157894736847</c:v>
                </c:pt>
                <c:pt idx="3">
                  <c:v>0.41176470588235292</c:v>
                </c:pt>
                <c:pt idx="4">
                  <c:v>0.42105263157894735</c:v>
                </c:pt>
                <c:pt idx="5">
                  <c:v>0.5714285714285714</c:v>
                </c:pt>
                <c:pt idx="6">
                  <c:v>0.33333333333333331</c:v>
                </c:pt>
                <c:pt idx="7">
                  <c:v>0.25</c:v>
                </c:pt>
                <c:pt idx="8">
                  <c:v>0.5</c:v>
                </c:pt>
                <c:pt idx="9">
                  <c:v>0.25</c:v>
                </c:pt>
                <c:pt idx="10">
                  <c:v>0</c:v>
                </c:pt>
                <c:pt idx="11">
                  <c:v>0.33333333333333331</c:v>
                </c:pt>
                <c:pt idx="12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vg. Rating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4</c:f>
              <c:strCache>
                <c:ptCount val="13"/>
                <c:pt idx="0">
                  <c:v>Undisclosed</c:v>
                </c:pt>
                <c:pt idx="1">
                  <c:v>New York </c:v>
                </c:pt>
                <c:pt idx="2">
                  <c:v>Andhra Pradesh</c:v>
                </c:pt>
                <c:pt idx="3">
                  <c:v>Haryana</c:v>
                </c:pt>
                <c:pt idx="4">
                  <c:v>England</c:v>
                </c:pt>
                <c:pt idx="5">
                  <c:v>Delhi</c:v>
                </c:pt>
                <c:pt idx="6">
                  <c:v>Hong Kong</c:v>
                </c:pt>
                <c:pt idx="7">
                  <c:v>Federal Capital</c:v>
                </c:pt>
                <c:pt idx="8">
                  <c:v>Illinois</c:v>
                </c:pt>
                <c:pt idx="9">
                  <c:v>Manila</c:v>
                </c:pt>
                <c:pt idx="10">
                  <c:v>Colorado</c:v>
                </c:pt>
                <c:pt idx="11">
                  <c:v>New Jersey</c:v>
                </c:pt>
                <c:pt idx="12">
                  <c:v>Massachusetts</c:v>
                </c:pt>
              </c:strCache>
            </c:strRef>
          </c:cat>
          <c:val>
            <c:numRef>
              <c:f>Sheet1!$C$2:$C$14</c:f>
              <c:numCache>
                <c:formatCode>General</c:formatCode>
                <c:ptCount val="13"/>
                <c:pt idx="0">
                  <c:v>0.83687943262411346</c:v>
                </c:pt>
                <c:pt idx="1">
                  <c:v>0.73404255319148937</c:v>
                </c:pt>
                <c:pt idx="2">
                  <c:v>0.44736842105263153</c:v>
                </c:pt>
                <c:pt idx="3">
                  <c:v>0.58823529411764708</c:v>
                </c:pt>
                <c:pt idx="4">
                  <c:v>0.57894736842105265</c:v>
                </c:pt>
                <c:pt idx="5">
                  <c:v>0.4285714285714286</c:v>
                </c:pt>
                <c:pt idx="6">
                  <c:v>0.66666666666666674</c:v>
                </c:pt>
                <c:pt idx="7">
                  <c:v>0.75</c:v>
                </c:pt>
                <c:pt idx="8">
                  <c:v>0.5</c:v>
                </c:pt>
                <c:pt idx="9">
                  <c:v>0.75</c:v>
                </c:pt>
                <c:pt idx="10">
                  <c:v>1</c:v>
                </c:pt>
                <c:pt idx="11">
                  <c:v>0.66666666666666674</c:v>
                </c:pt>
                <c:pt idx="12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7853824"/>
        <c:axId val="77855360"/>
      </c:barChart>
      <c:catAx>
        <c:axId val="778538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vert="horz"/>
          <a:lstStyle/>
          <a:p>
            <a:pPr>
              <a:defRPr sz="800"/>
            </a:pPr>
            <a:endParaRPr lang="en-US"/>
          </a:p>
        </c:txPr>
        <c:crossAx val="77855360"/>
        <c:crosses val="autoZero"/>
        <c:auto val="1"/>
        <c:lblAlgn val="ctr"/>
        <c:lblOffset val="100"/>
        <c:noMultiLvlLbl val="0"/>
      </c:catAx>
      <c:valAx>
        <c:axId val="77855360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en-US" dirty="0"/>
                  <a:t>% Reviews with Positive Outlook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7853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FFFFFF"/>
    </a:solidFill>
    <a:ln>
      <a:solidFill>
        <a:schemeClr val="accent1"/>
      </a:solidFill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# Review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Analyst</c:v>
                </c:pt>
                <c:pt idx="1">
                  <c:v>Sr. Analyst</c:v>
                </c:pt>
                <c:pt idx="2">
                  <c:v>Manager</c:v>
                </c:pt>
                <c:pt idx="3">
                  <c:v>Leadership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2</c:v>
                </c:pt>
                <c:pt idx="1">
                  <c:v>43</c:v>
                </c:pt>
                <c:pt idx="2">
                  <c:v>182</c:v>
                </c:pt>
                <c:pt idx="3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78035200"/>
        <c:axId val="78041472"/>
      </c:barChart>
      <c:lineChart>
        <c:grouping val="stack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g. Rating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10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1574074074074073E-2"/>
                  <c:y val="6.46219135802468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rgbClr val="FFFFFF"/>
                      </a:solidFill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Analyst</c:v>
                </c:pt>
                <c:pt idx="1">
                  <c:v>Sr. Analyst</c:v>
                </c:pt>
                <c:pt idx="2">
                  <c:v>Manager</c:v>
                </c:pt>
                <c:pt idx="3">
                  <c:v>Leadership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.3069306930693068</c:v>
                </c:pt>
                <c:pt idx="1">
                  <c:v>3.3720930232558142</c:v>
                </c:pt>
                <c:pt idx="2">
                  <c:v>3.3076923076923075</c:v>
                </c:pt>
                <c:pt idx="3">
                  <c:v>2.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8070144"/>
        <c:axId val="78043392"/>
      </c:lineChart>
      <c:catAx>
        <c:axId val="78035200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en-US" dirty="0" smtClean="0"/>
                  <a:t>Position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8041472"/>
        <c:crosses val="autoZero"/>
        <c:auto val="1"/>
        <c:lblAlgn val="ctr"/>
        <c:lblOffset val="100"/>
        <c:noMultiLvlLbl val="0"/>
      </c:catAx>
      <c:valAx>
        <c:axId val="78041472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/>
                  <a:t># Review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8035200"/>
        <c:crosses val="autoZero"/>
        <c:crossBetween val="between"/>
      </c:valAx>
      <c:valAx>
        <c:axId val="78043392"/>
        <c:scaling>
          <c:orientation val="minMax"/>
          <c:max val="5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/>
                  <a:t>Avg. Rating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8070144"/>
        <c:crosses val="max"/>
        <c:crossBetween val="between"/>
        <c:majorUnit val="1"/>
      </c:valAx>
      <c:catAx>
        <c:axId val="780701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80433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solidFill>
      <a:srgbClr val="FFFFFF"/>
    </a:solidFill>
    <a:ln>
      <a:solidFill>
        <a:schemeClr val="accent1"/>
      </a:solidFill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#Review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rgbClr val="FFFFFF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Analyst</c:v>
                </c:pt>
                <c:pt idx="1">
                  <c:v>Sr. Analyst</c:v>
                </c:pt>
                <c:pt idx="2">
                  <c:v>Manager</c:v>
                </c:pt>
                <c:pt idx="3">
                  <c:v>Leadership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40099009900990101</c:v>
                </c:pt>
                <c:pt idx="1">
                  <c:v>0.44186046511627908</c:v>
                </c:pt>
                <c:pt idx="2">
                  <c:v>0.2032967032967033</c:v>
                </c:pt>
                <c:pt idx="3">
                  <c:v>0.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vg. Rating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Analyst</c:v>
                </c:pt>
                <c:pt idx="1">
                  <c:v>Sr. Analyst</c:v>
                </c:pt>
                <c:pt idx="2">
                  <c:v>Manager</c:v>
                </c:pt>
                <c:pt idx="3">
                  <c:v>Leadership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.59900990099009899</c:v>
                </c:pt>
                <c:pt idx="1">
                  <c:v>0.55813953488372092</c:v>
                </c:pt>
                <c:pt idx="2">
                  <c:v>0.79670329670329676</c:v>
                </c:pt>
                <c:pt idx="3">
                  <c:v>0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8562432"/>
        <c:axId val="78564352"/>
      </c:barChart>
      <c:catAx>
        <c:axId val="7856243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Designation</a:t>
                </a:r>
                <a:endParaRPr lang="en-U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8564352"/>
        <c:crosses val="autoZero"/>
        <c:auto val="1"/>
        <c:lblAlgn val="ctr"/>
        <c:lblOffset val="100"/>
        <c:noMultiLvlLbl val="0"/>
      </c:catAx>
      <c:valAx>
        <c:axId val="7856435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sz="1000" b="1" i="0" kern="1200" baseline="0" dirty="0" smtClean="0">
                    <a:solidFill>
                      <a:srgbClr val="000000"/>
                    </a:solidFill>
                    <a:effectLst/>
                  </a:rPr>
                  <a:t>% Reviews with Positive Outlook</a:t>
                </a:r>
                <a:endParaRPr lang="en-US" dirty="0">
                  <a:effectLst/>
                </a:endParaRPr>
              </a:p>
            </c:rich>
          </c:tx>
          <c:layout/>
          <c:overlay val="0"/>
        </c:title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856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FFFFFF"/>
    </a:solidFill>
    <a:ln>
      <a:solidFill>
        <a:schemeClr val="accent1"/>
      </a:solidFill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221204686370724"/>
          <c:y val="3.3551166409382348E-2"/>
          <c:w val="0.751327313705352"/>
          <c:h val="0.732429594653182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ig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Career Opportunities</c:v>
                </c:pt>
                <c:pt idx="1">
                  <c:v>Comp. &amp; Benefits</c:v>
                </c:pt>
                <c:pt idx="2">
                  <c:v>Senior Leadership</c:v>
                </c:pt>
                <c:pt idx="3">
                  <c:v>Work-Life Balance</c:v>
                </c:pt>
                <c:pt idx="4">
                  <c:v>Culture &amp; Values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791762013729977</c:v>
                </c:pt>
                <c:pt idx="1">
                  <c:v>0.45308924485125857</c:v>
                </c:pt>
                <c:pt idx="2">
                  <c:v>0.28375286041189929</c:v>
                </c:pt>
                <c:pt idx="3">
                  <c:v>0.66590389016018303</c:v>
                </c:pt>
                <c:pt idx="4">
                  <c:v>0.3821510297482837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i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 b="1">
                    <a:solidFill>
                      <a:srgbClr val="FFFFFF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6</c:f>
              <c:strCache>
                <c:ptCount val="5"/>
                <c:pt idx="0">
                  <c:v>Career Opportunities</c:v>
                </c:pt>
                <c:pt idx="1">
                  <c:v>Comp. &amp; Benefits</c:v>
                </c:pt>
                <c:pt idx="2">
                  <c:v>Senior Leadership</c:v>
                </c:pt>
                <c:pt idx="3">
                  <c:v>Work-Life Balance</c:v>
                </c:pt>
                <c:pt idx="4">
                  <c:v>Culture &amp; Values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31578947368421051</c:v>
                </c:pt>
                <c:pt idx="1">
                  <c:v>0.30663615560640733</c:v>
                </c:pt>
                <c:pt idx="2">
                  <c:v>0.25400457665903892</c:v>
                </c:pt>
                <c:pt idx="3">
                  <c:v>0.14874141876430205</c:v>
                </c:pt>
                <c:pt idx="4">
                  <c:v>0.2128146453089244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ow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6</c:f>
              <c:strCache>
                <c:ptCount val="5"/>
                <c:pt idx="0">
                  <c:v>Career Opportunities</c:v>
                </c:pt>
                <c:pt idx="1">
                  <c:v>Comp. &amp; Benefits</c:v>
                </c:pt>
                <c:pt idx="2">
                  <c:v>Senior Leadership</c:v>
                </c:pt>
                <c:pt idx="3">
                  <c:v>Work-Life Balance</c:v>
                </c:pt>
                <c:pt idx="4">
                  <c:v>Culture &amp; Values</c:v>
                </c:pt>
              </c:strCache>
            </c:strRef>
          </c:cat>
          <c:val>
            <c:numRef>
              <c:f>Sheet1!$D$2:$D$6</c:f>
              <c:numCache>
                <c:formatCode>0%</c:formatCode>
                <c:ptCount val="5"/>
                <c:pt idx="0">
                  <c:v>0.40503432494279173</c:v>
                </c:pt>
                <c:pt idx="1">
                  <c:v>0.2402745995423341</c:v>
                </c:pt>
                <c:pt idx="2">
                  <c:v>0.4622425629290618</c:v>
                </c:pt>
                <c:pt idx="3">
                  <c:v>0.18535469107551489</c:v>
                </c:pt>
                <c:pt idx="4">
                  <c:v>0.4050343249427917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9031296"/>
        <c:axId val="79106816"/>
      </c:barChart>
      <c:catAx>
        <c:axId val="7903129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9106816"/>
        <c:crosses val="autoZero"/>
        <c:auto val="1"/>
        <c:lblAlgn val="ctr"/>
        <c:lblOffset val="100"/>
        <c:noMultiLvlLbl val="0"/>
      </c:catAx>
      <c:valAx>
        <c:axId val="79106816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90312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9471314386947385"/>
          <c:y val="0.88777847846171465"/>
          <c:w val="0.15251406711193943"/>
          <c:h val="6.1339581261663785E-2"/>
        </c:manualLayout>
      </c:layout>
      <c:overlay val="0"/>
      <c:txPr>
        <a:bodyPr/>
        <a:lstStyle/>
        <a:p>
          <a:pPr>
            <a:defRPr sz="1000"/>
          </a:pPr>
          <a:endParaRPr lang="en-US"/>
        </a:p>
      </c:txPr>
    </c:legend>
    <c:plotVisOnly val="1"/>
    <c:dispBlanksAs val="gap"/>
    <c:showDLblsOverMax val="0"/>
  </c:chart>
  <c:spPr>
    <a:solidFill>
      <a:srgbClr val="FFFFFF"/>
    </a:solidFill>
    <a:ln>
      <a:solidFill>
        <a:schemeClr val="accent1"/>
      </a:solidFill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586091140781316E-2"/>
          <c:y val="6.1121000982606581E-2"/>
          <c:w val="0.91418202480124766"/>
          <c:h val="0.746254835453681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nalyst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Comp. &amp; Benefits</c:v>
                </c:pt>
                <c:pt idx="1">
                  <c:v>Career Opportunities</c:v>
                </c:pt>
                <c:pt idx="2">
                  <c:v>Senior Leadership</c:v>
                </c:pt>
                <c:pt idx="3">
                  <c:v>Work Life Balance</c:v>
                </c:pt>
                <c:pt idx="4">
                  <c:v>Culture Values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.3019801980198018</c:v>
                </c:pt>
                <c:pt idx="1">
                  <c:v>2.8886138613861387</c:v>
                </c:pt>
                <c:pt idx="2">
                  <c:v>2.8267326732673266</c:v>
                </c:pt>
                <c:pt idx="3">
                  <c:v>3.75</c:v>
                </c:pt>
                <c:pt idx="4">
                  <c:v>2.925742574257425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r. Analyst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Comp. &amp; Benefits</c:v>
                </c:pt>
                <c:pt idx="1">
                  <c:v>Career Opportunities</c:v>
                </c:pt>
                <c:pt idx="2">
                  <c:v>Senior Leadership</c:v>
                </c:pt>
                <c:pt idx="3">
                  <c:v>Work Life Balance</c:v>
                </c:pt>
                <c:pt idx="4">
                  <c:v>Culture Values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3.1860465116279069</c:v>
                </c:pt>
                <c:pt idx="1">
                  <c:v>2.8023255813953489</c:v>
                </c:pt>
                <c:pt idx="2">
                  <c:v>2.7906976744186047</c:v>
                </c:pt>
                <c:pt idx="3">
                  <c:v>3.7209302325581395</c:v>
                </c:pt>
                <c:pt idx="4">
                  <c:v>3.023255813953488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anager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Comp. &amp; Benefits</c:v>
                </c:pt>
                <c:pt idx="1">
                  <c:v>Career Opportunities</c:v>
                </c:pt>
                <c:pt idx="2">
                  <c:v>Senior Leadership</c:v>
                </c:pt>
                <c:pt idx="3">
                  <c:v>Work Life Balance</c:v>
                </c:pt>
                <c:pt idx="4">
                  <c:v>Culture Values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.8241758241758244</c:v>
                </c:pt>
                <c:pt idx="1">
                  <c:v>2.3351648351648353</c:v>
                </c:pt>
                <c:pt idx="2">
                  <c:v>2.1263736263736264</c:v>
                </c:pt>
                <c:pt idx="3">
                  <c:v>3.2527472527472527</c:v>
                </c:pt>
                <c:pt idx="4">
                  <c:v>2.2472527472527473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Leadership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Comp. &amp; Benefits</c:v>
                </c:pt>
                <c:pt idx="1">
                  <c:v>Career Opportunities</c:v>
                </c:pt>
                <c:pt idx="2">
                  <c:v>Senior Leadership</c:v>
                </c:pt>
                <c:pt idx="3">
                  <c:v>Work Life Balance</c:v>
                </c:pt>
                <c:pt idx="4">
                  <c:v>Culture Values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2.75</c:v>
                </c:pt>
                <c:pt idx="1">
                  <c:v>2.4</c:v>
                </c:pt>
                <c:pt idx="2">
                  <c:v>2.4500000000000002</c:v>
                </c:pt>
                <c:pt idx="3">
                  <c:v>3.55</c:v>
                </c:pt>
                <c:pt idx="4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9325824"/>
        <c:axId val="79331712"/>
      </c:barChart>
      <c:catAx>
        <c:axId val="79325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79331712"/>
        <c:crosses val="autoZero"/>
        <c:auto val="1"/>
        <c:lblAlgn val="ctr"/>
        <c:lblOffset val="100"/>
        <c:noMultiLvlLbl val="0"/>
      </c:catAx>
      <c:valAx>
        <c:axId val="79331712"/>
        <c:scaling>
          <c:orientation val="minMax"/>
          <c:max val="5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Avg. Rating</a:t>
                </a:r>
                <a:endParaRPr lang="en-U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79325824"/>
        <c:crosses val="autoZero"/>
        <c:crossBetween val="between"/>
        <c:majorUnit val="1"/>
      </c:valAx>
    </c:plotArea>
    <c:legend>
      <c:legendPos val="b"/>
      <c:layout/>
      <c:overlay val="0"/>
    </c:legend>
    <c:plotVisOnly val="1"/>
    <c:dispBlanksAs val="gap"/>
    <c:showDLblsOverMax val="0"/>
  </c:chart>
  <c:spPr>
    <a:solidFill>
      <a:schemeClr val="bg1"/>
    </a:solidFill>
    <a:ln>
      <a:solidFill>
        <a:schemeClr val="accent1"/>
      </a:solidFill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# Review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Former</c:v>
                </c:pt>
                <c:pt idx="1">
                  <c:v>Curren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61</c:v>
                </c:pt>
                <c:pt idx="1">
                  <c:v>27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7"/>
        <c:axId val="79436800"/>
        <c:axId val="79454976"/>
      </c:barChart>
      <c:lineChart>
        <c:grouping val="stack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g. Rating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10"/>
            <c:spPr>
              <a:solidFill>
                <a:schemeClr val="accent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rgbClr val="FFFFFF"/>
                      </a:solidFill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Former</c:v>
                </c:pt>
                <c:pt idx="1">
                  <c:v>Current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.1304347826086958</c:v>
                </c:pt>
                <c:pt idx="1">
                  <c:v>3.384057971014492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463168"/>
        <c:axId val="79456896"/>
      </c:lineChart>
      <c:catAx>
        <c:axId val="794368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9454976"/>
        <c:crosses val="autoZero"/>
        <c:auto val="1"/>
        <c:lblAlgn val="ctr"/>
        <c:lblOffset val="100"/>
        <c:noMultiLvlLbl val="0"/>
      </c:catAx>
      <c:valAx>
        <c:axId val="79454976"/>
        <c:scaling>
          <c:orientation val="minMax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/>
                  <a:t># Review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9436800"/>
        <c:crosses val="autoZero"/>
        <c:crossBetween val="between"/>
        <c:majorUnit val="30"/>
      </c:valAx>
      <c:valAx>
        <c:axId val="79456896"/>
        <c:scaling>
          <c:orientation val="minMax"/>
          <c:max val="5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/>
                  <a:t>Avg. Rating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9463168"/>
        <c:crosses val="max"/>
        <c:crossBetween val="between"/>
        <c:majorUnit val="1"/>
      </c:valAx>
      <c:catAx>
        <c:axId val="794631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94568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chemeClr val="accent1"/>
      </a:solidFill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028239117054801"/>
          <c:y val="3.7313412903229252E-2"/>
          <c:w val="0.72124530976686663"/>
          <c:h val="0.85057113293350717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#Review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rgbClr val="FFFFFF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Former</c:v>
                </c:pt>
                <c:pt idx="1">
                  <c:v>Current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1739130434782608</c:v>
                </c:pt>
                <c:pt idx="1">
                  <c:v>0.3731884057971014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vg. Rating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Former</c:v>
                </c:pt>
                <c:pt idx="1">
                  <c:v>Current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0.78260869565217395</c:v>
                </c:pt>
                <c:pt idx="1">
                  <c:v>0.6268115942028985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80111104"/>
        <c:axId val="80113024"/>
      </c:barChart>
      <c:catAx>
        <c:axId val="80111104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Employee Status</a:t>
                </a:r>
                <a:endParaRPr lang="en-U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80113024"/>
        <c:crosses val="autoZero"/>
        <c:auto val="1"/>
        <c:lblAlgn val="ctr"/>
        <c:lblOffset val="100"/>
        <c:noMultiLvlLbl val="0"/>
      </c:catAx>
      <c:valAx>
        <c:axId val="8011302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sz="1000" b="1" i="0" kern="1200" baseline="0" dirty="0" smtClean="0">
                    <a:solidFill>
                      <a:srgbClr val="000000"/>
                    </a:solidFill>
                    <a:effectLst/>
                  </a:rPr>
                  <a:t>% Reviews with Positive Outlook</a:t>
                </a:r>
                <a:endParaRPr lang="en-US" dirty="0">
                  <a:effectLst/>
                </a:endParaRPr>
              </a:p>
            </c:rich>
          </c:tx>
          <c:layout/>
          <c:overlay val="0"/>
        </c:title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80111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FFFFFF"/>
    </a:solidFill>
    <a:ln>
      <a:solidFill>
        <a:schemeClr val="accent1"/>
      </a:solidFill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u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0</c:f>
              <c:strCache>
                <c:ptCount val="19"/>
                <c:pt idx="0">
                  <c:v>Work Life Balance</c:v>
                </c:pt>
                <c:pt idx="1">
                  <c:v>Work Environment</c:v>
                </c:pt>
                <c:pt idx="2">
                  <c:v>Management</c:v>
                </c:pt>
                <c:pt idx="3">
                  <c:v>Training &amp; Learning</c:v>
                </c:pt>
                <c:pt idx="4">
                  <c:v>Work culture</c:v>
                </c:pt>
                <c:pt idx="5">
                  <c:v>Compensation</c:v>
                </c:pt>
                <c:pt idx="6">
                  <c:v>Career Growth</c:v>
                </c:pt>
                <c:pt idx="7">
                  <c:v>Benefits &amp; Perks</c:v>
                </c:pt>
                <c:pt idx="8">
                  <c:v>Brand</c:v>
                </c:pt>
                <c:pt idx="9">
                  <c:v>Leadership</c:v>
                </c:pt>
                <c:pt idx="10">
                  <c:v>Work Quality</c:v>
                </c:pt>
                <c:pt idx="11">
                  <c:v>Outdated Technology</c:v>
                </c:pt>
                <c:pt idx="12">
                  <c:v>Office Space</c:v>
                </c:pt>
                <c:pt idx="13">
                  <c:v>Performance</c:v>
                </c:pt>
                <c:pt idx="14">
                  <c:v>Cost Cutting</c:v>
                </c:pt>
                <c:pt idx="15">
                  <c:v>Churn</c:v>
                </c:pt>
                <c:pt idx="16">
                  <c:v>Innovation</c:v>
                </c:pt>
                <c:pt idx="17">
                  <c:v>Location</c:v>
                </c:pt>
                <c:pt idx="18">
                  <c:v>Value to Customer</c:v>
                </c:pt>
              </c:strCache>
            </c:strRef>
          </c:cat>
          <c:val>
            <c:numRef>
              <c:f>Sheet1!$B$2:$B$20</c:f>
              <c:numCache>
                <c:formatCode>General</c:formatCode>
                <c:ptCount val="19"/>
                <c:pt idx="0">
                  <c:v>430</c:v>
                </c:pt>
                <c:pt idx="1">
                  <c:v>397</c:v>
                </c:pt>
                <c:pt idx="2">
                  <c:v>256</c:v>
                </c:pt>
                <c:pt idx="3">
                  <c:v>235</c:v>
                </c:pt>
                <c:pt idx="4">
                  <c:v>195</c:v>
                </c:pt>
                <c:pt idx="5">
                  <c:v>169</c:v>
                </c:pt>
                <c:pt idx="6">
                  <c:v>103</c:v>
                </c:pt>
                <c:pt idx="7">
                  <c:v>76</c:v>
                </c:pt>
                <c:pt idx="8">
                  <c:v>52</c:v>
                </c:pt>
                <c:pt idx="9">
                  <c:v>48</c:v>
                </c:pt>
                <c:pt idx="10">
                  <c:v>47</c:v>
                </c:pt>
                <c:pt idx="11">
                  <c:v>34</c:v>
                </c:pt>
                <c:pt idx="12">
                  <c:v>34</c:v>
                </c:pt>
                <c:pt idx="13">
                  <c:v>14</c:v>
                </c:pt>
                <c:pt idx="14">
                  <c:v>14</c:v>
                </c:pt>
                <c:pt idx="15">
                  <c:v>13</c:v>
                </c:pt>
                <c:pt idx="16">
                  <c:v>11</c:v>
                </c:pt>
                <c:pt idx="17">
                  <c:v>10</c:v>
                </c:pt>
                <c:pt idx="18">
                  <c:v>9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0"/>
        <c:axId val="74429952"/>
        <c:axId val="74441088"/>
      </c:barChart>
      <c:catAx>
        <c:axId val="7442995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2"/>
            </a:solidFill>
            <a:round/>
          </a:ln>
          <a:effectLst/>
        </c:spPr>
        <c:txPr>
          <a:bodyPr rot="-60000000" vert="horz"/>
          <a:lstStyle/>
          <a:p>
            <a:pPr>
              <a:defRPr sz="800"/>
            </a:pPr>
            <a:endParaRPr lang="en-US"/>
          </a:p>
        </c:txPr>
        <c:crossAx val="74441088"/>
        <c:crosses val="autoZero"/>
        <c:auto val="1"/>
        <c:lblAlgn val="ctr"/>
        <c:lblOffset val="100"/>
        <c:noMultiLvlLbl val="0"/>
      </c:catAx>
      <c:valAx>
        <c:axId val="74441088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74429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FFFFFF"/>
    </a:solidFill>
    <a:ln>
      <a:solidFill>
        <a:schemeClr val="accent1"/>
      </a:solidFill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01375903101132"/>
          <c:y val="5.4513871775163619E-2"/>
          <c:w val="0.85561555650073706"/>
          <c:h val="0.63745052930809631"/>
        </c:manualLayout>
      </c:layout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7"/>
        <c:axId val="70250880"/>
        <c:axId val="70252416"/>
      </c:barChart>
      <c:catAx>
        <c:axId val="70250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2"/>
            </a:solidFill>
            <a:round/>
          </a:ln>
          <a:effectLst/>
        </c:spPr>
        <c:txPr>
          <a:bodyPr rot="-2700000" vert="horz"/>
          <a:lstStyle/>
          <a:p>
            <a:pPr>
              <a:defRPr sz="900" baseline="0"/>
            </a:pPr>
            <a:endParaRPr lang="en-US"/>
          </a:p>
        </c:txPr>
        <c:crossAx val="70252416"/>
        <c:crosses val="autoZero"/>
        <c:auto val="1"/>
        <c:lblAlgn val="ctr"/>
        <c:lblOffset val="100"/>
        <c:noMultiLvlLbl val="0"/>
      </c:catAx>
      <c:valAx>
        <c:axId val="7025241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2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02508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solidFill>
        <a:schemeClr val="accent1"/>
      </a:solidFill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FF5050"/>
            </a:solidFill>
          </c:spPr>
          <c:invertIfNegative val="0"/>
          <c:cat>
            <c:strRef>
              <c:f>'[Chart in Microsoft PowerPoint]Sheet1'!$A$2:$A$11</c:f>
              <c:strCache>
                <c:ptCount val="10"/>
                <c:pt idx="0">
                  <c:v>Management</c:v>
                </c:pt>
                <c:pt idx="1">
                  <c:v>Career Growth</c:v>
                </c:pt>
                <c:pt idx="2">
                  <c:v>Work Environment</c:v>
                </c:pt>
                <c:pt idx="3">
                  <c:v>Training &amp; Learning</c:v>
                </c:pt>
                <c:pt idx="4">
                  <c:v>Work Quality</c:v>
                </c:pt>
                <c:pt idx="5">
                  <c:v>Work culture</c:v>
                </c:pt>
                <c:pt idx="6">
                  <c:v>Compensation</c:v>
                </c:pt>
                <c:pt idx="7">
                  <c:v>Work Life Balance</c:v>
                </c:pt>
                <c:pt idx="8">
                  <c:v>Benefits &amp; Perks</c:v>
                </c:pt>
                <c:pt idx="9">
                  <c:v>Value to Customer</c:v>
                </c:pt>
              </c:strCache>
            </c:strRef>
          </c:cat>
          <c:val>
            <c:numRef>
              <c:f>'[Chart in Microsoft PowerPoint]Sheet1'!$B$2:$B$11</c:f>
              <c:numCache>
                <c:formatCode>General</c:formatCode>
                <c:ptCount val="10"/>
                <c:pt idx="0">
                  <c:v>203</c:v>
                </c:pt>
                <c:pt idx="1">
                  <c:v>105</c:v>
                </c:pt>
                <c:pt idx="2">
                  <c:v>64</c:v>
                </c:pt>
                <c:pt idx="3">
                  <c:v>54</c:v>
                </c:pt>
                <c:pt idx="4">
                  <c:v>54</c:v>
                </c:pt>
                <c:pt idx="5">
                  <c:v>30</c:v>
                </c:pt>
                <c:pt idx="6">
                  <c:v>25</c:v>
                </c:pt>
                <c:pt idx="7">
                  <c:v>15</c:v>
                </c:pt>
                <c:pt idx="8">
                  <c:v>13</c:v>
                </c:pt>
                <c:pt idx="9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0419584"/>
        <c:axId val="70421120"/>
      </c:barChart>
      <c:catAx>
        <c:axId val="70419584"/>
        <c:scaling>
          <c:orientation val="minMax"/>
        </c:scaling>
        <c:delete val="0"/>
        <c:axPos val="b"/>
        <c:majorTickMark val="out"/>
        <c:minorTickMark val="none"/>
        <c:tickLblPos val="nextTo"/>
        <c:crossAx val="70421120"/>
        <c:crosses val="autoZero"/>
        <c:auto val="1"/>
        <c:lblAlgn val="ctr"/>
        <c:lblOffset val="100"/>
        <c:noMultiLvlLbl val="0"/>
      </c:catAx>
      <c:valAx>
        <c:axId val="70421120"/>
        <c:scaling>
          <c:orientation val="minMax"/>
          <c:max val="400"/>
        </c:scaling>
        <c:delete val="0"/>
        <c:axPos val="l"/>
        <c:numFmt formatCode="General" sourceLinked="1"/>
        <c:majorTickMark val="out"/>
        <c:minorTickMark val="none"/>
        <c:tickLblPos val="nextTo"/>
        <c:crossAx val="70419584"/>
        <c:crosses val="autoZero"/>
        <c:crossBetween val="between"/>
        <c:majorUnit val="100"/>
      </c:valAx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3304417142822372"/>
          <c:y val="7.8167889308202912E-2"/>
          <c:w val="0.82058769479788485"/>
          <c:h val="0.6595329407204237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6"/>
            </a:solidFill>
          </c:spPr>
          <c:invertIfNegative val="0"/>
          <c:cat>
            <c:strRef>
              <c:f>'[Chart in Microsoft PowerPoint]Sheet1'!$L$2:$L$9</c:f>
              <c:strCache>
                <c:ptCount val="8"/>
                <c:pt idx="0">
                  <c:v>Work Life Balance</c:v>
                </c:pt>
                <c:pt idx="1">
                  <c:v>Work Environment</c:v>
                </c:pt>
                <c:pt idx="2">
                  <c:v>Work culture</c:v>
                </c:pt>
                <c:pt idx="3">
                  <c:v>Compensation</c:v>
                </c:pt>
                <c:pt idx="4">
                  <c:v>Training &amp; Learning</c:v>
                </c:pt>
                <c:pt idx="5">
                  <c:v>Benefits &amp; Perks</c:v>
                </c:pt>
                <c:pt idx="6">
                  <c:v>Management</c:v>
                </c:pt>
                <c:pt idx="7">
                  <c:v>Brand</c:v>
                </c:pt>
              </c:strCache>
            </c:strRef>
          </c:cat>
          <c:val>
            <c:numRef>
              <c:f>'[Chart in Microsoft PowerPoint]Sheet1'!$M$2:$M$9</c:f>
              <c:numCache>
                <c:formatCode>General</c:formatCode>
                <c:ptCount val="8"/>
                <c:pt idx="0">
                  <c:v>361</c:v>
                </c:pt>
                <c:pt idx="1">
                  <c:v>291</c:v>
                </c:pt>
                <c:pt idx="2">
                  <c:v>127</c:v>
                </c:pt>
                <c:pt idx="3">
                  <c:v>117</c:v>
                </c:pt>
                <c:pt idx="4">
                  <c:v>78</c:v>
                </c:pt>
                <c:pt idx="5">
                  <c:v>64</c:v>
                </c:pt>
                <c:pt idx="6">
                  <c:v>53</c:v>
                </c:pt>
                <c:pt idx="7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0436736"/>
        <c:axId val="70438272"/>
      </c:barChart>
      <c:catAx>
        <c:axId val="70436736"/>
        <c:scaling>
          <c:orientation val="minMax"/>
        </c:scaling>
        <c:delete val="0"/>
        <c:axPos val="b"/>
        <c:majorTickMark val="out"/>
        <c:minorTickMark val="none"/>
        <c:tickLblPos val="nextTo"/>
        <c:crossAx val="70438272"/>
        <c:crosses val="autoZero"/>
        <c:auto val="1"/>
        <c:lblAlgn val="ctr"/>
        <c:lblOffset val="100"/>
        <c:noMultiLvlLbl val="0"/>
      </c:catAx>
      <c:valAx>
        <c:axId val="7043827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70436736"/>
        <c:crosses val="autoZero"/>
        <c:crossBetween val="between"/>
        <c:majorUnit val="100"/>
      </c:valAx>
    </c:plotArea>
    <c:plotVisOnly val="1"/>
    <c:dispBlanksAs val="gap"/>
    <c:showDLblsOverMax val="0"/>
  </c:chart>
  <c:spPr>
    <a:ln w="6350">
      <a:solidFill>
        <a:srgbClr val="FFFFFF">
          <a:lumMod val="50000"/>
        </a:srgbClr>
      </a:solidFill>
    </a:ln>
    <a:effectLst>
      <a:outerShdw blurRad="50800" dist="38100" dir="2700000" algn="tl" rotWithShape="0">
        <a:prstClr val="black">
          <a:alpha val="40000"/>
        </a:prstClr>
      </a:outerShdw>
    </a:effectLst>
  </c:sp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961091140781319E-2"/>
          <c:y val="4.2438271604938273E-2"/>
          <c:w val="0.83149784605728638"/>
          <c:h val="0.75917411317795047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# Review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24</c:v>
                </c:pt>
                <c:pt idx="1">
                  <c:v>52</c:v>
                </c:pt>
                <c:pt idx="2">
                  <c:v>73</c:v>
                </c:pt>
                <c:pt idx="3">
                  <c:v>99</c:v>
                </c:pt>
                <c:pt idx="4">
                  <c:v>17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75241344"/>
        <c:axId val="75242880"/>
      </c:barChart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verall Approval</c:v>
                </c:pt>
              </c:strCache>
            </c:strRef>
          </c:tx>
          <c:spPr>
            <a:ln>
              <a:solidFill>
                <a:schemeClr val="accent1"/>
              </a:solidFill>
            </a:ln>
            <a:effectLst/>
          </c:spPr>
          <c:marker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numCache>
            </c:numRef>
          </c:cat>
          <c:val>
            <c:numRef>
              <c:f>Sheet1!$B$2:$B$6</c:f>
              <c:numCache>
                <c:formatCode>0%</c:formatCode>
                <c:ptCount val="5"/>
                <c:pt idx="0">
                  <c:v>0.29166666666666669</c:v>
                </c:pt>
                <c:pt idx="1">
                  <c:v>0.36538461538461536</c:v>
                </c:pt>
                <c:pt idx="2">
                  <c:v>0.28767123287671231</c:v>
                </c:pt>
                <c:pt idx="3">
                  <c:v>0.24242424242424243</c:v>
                </c:pt>
                <c:pt idx="4">
                  <c:v>0.268156424581005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5271552"/>
        <c:axId val="75269632"/>
      </c:lineChart>
      <c:catAx>
        <c:axId val="752413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5242880"/>
        <c:crosses val="autoZero"/>
        <c:auto val="1"/>
        <c:lblAlgn val="ctr"/>
        <c:lblOffset val="100"/>
        <c:noMultiLvlLbl val="0"/>
      </c:catAx>
      <c:valAx>
        <c:axId val="75242880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#Reviews</a:t>
                </a:r>
                <a:endParaRPr lang="en-U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5241344"/>
        <c:crosses val="autoZero"/>
        <c:crossBetween val="between"/>
      </c:valAx>
      <c:valAx>
        <c:axId val="75269632"/>
        <c:scaling>
          <c:orientation val="minMax"/>
        </c:scaling>
        <c:delete val="0"/>
        <c:axPos val="r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Overall Approval</a:t>
                </a:r>
                <a:endParaRPr lang="en-US" dirty="0"/>
              </a:p>
            </c:rich>
          </c:tx>
          <c:layout/>
          <c:overlay val="0"/>
        </c:title>
        <c:numFmt formatCode="0%" sourceLinked="1"/>
        <c:majorTickMark val="out"/>
        <c:minorTickMark val="none"/>
        <c:tickLblPos val="nextTo"/>
        <c:crossAx val="75271552"/>
        <c:crosses val="max"/>
        <c:crossBetween val="between"/>
      </c:valAx>
      <c:catAx>
        <c:axId val="75271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526963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</c:legend>
    <c:plotVisOnly val="1"/>
    <c:dispBlanksAs val="gap"/>
    <c:showDLblsOverMax val="0"/>
  </c:chart>
  <c:spPr>
    <a:solidFill>
      <a:srgbClr val="FFFFFF"/>
    </a:solidFill>
    <a:ln>
      <a:solidFill>
        <a:schemeClr val="accent1"/>
      </a:solidFill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marker>
            <c:symbol val="none"/>
          </c:marker>
          <c:dLbls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E$59:$E$65</c:f>
              <c:numCache>
                <c:formatCode>General</c:formatCode>
                <c:ptCount val="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</c:numCache>
            </c:numRef>
          </c:cat>
          <c:val>
            <c:numRef>
              <c:f>Sheet1!$F$59:$F$65</c:f>
              <c:numCache>
                <c:formatCode>0%</c:formatCode>
                <c:ptCount val="7"/>
                <c:pt idx="0">
                  <c:v>0.33333333333333331</c:v>
                </c:pt>
                <c:pt idx="1">
                  <c:v>0.2857142857142857</c:v>
                </c:pt>
                <c:pt idx="2">
                  <c:v>0.45833333333333331</c:v>
                </c:pt>
                <c:pt idx="3">
                  <c:v>0.55769230769230771</c:v>
                </c:pt>
                <c:pt idx="4">
                  <c:v>0.46575342465753422</c:v>
                </c:pt>
                <c:pt idx="5">
                  <c:v>0.47474747474747475</c:v>
                </c:pt>
                <c:pt idx="6">
                  <c:v>0.5139664804469273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870336"/>
        <c:axId val="74416512"/>
      </c:lineChart>
      <c:catAx>
        <c:axId val="71870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74416512"/>
        <c:crosses val="autoZero"/>
        <c:auto val="1"/>
        <c:lblAlgn val="ctr"/>
        <c:lblOffset val="100"/>
        <c:noMultiLvlLbl val="0"/>
      </c:catAx>
      <c:valAx>
        <c:axId val="74416512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crossAx val="71870336"/>
        <c:crosses val="autoZero"/>
        <c:crossBetween val="between"/>
      </c:valAx>
      <c:spPr>
        <a:ln w="9525"/>
      </c:spPr>
    </c:plotArea>
    <c:plotVisOnly val="1"/>
    <c:dispBlanksAs val="gap"/>
    <c:showDLblsOverMax val="0"/>
  </c:chart>
  <c:spPr>
    <a:ln w="3175">
      <a:solidFill>
        <a:srgbClr val="FFFFFF">
          <a:lumMod val="50000"/>
        </a:srgbClr>
      </a:solidFill>
      <a:prstDash val="solid"/>
    </a:ln>
    <a:effectLst>
      <a:outerShdw blurRad="50800" dist="38100" dir="2700000" algn="tl" rotWithShape="0">
        <a:prstClr val="black">
          <a:alpha val="40000"/>
        </a:prstClr>
      </a:outerShdw>
    </a:effectLst>
  </c:sp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35659475069168"/>
          <c:y val="1.8264718001958651E-2"/>
          <c:w val="0.76928681049861658"/>
          <c:h val="0.96346967207704748"/>
        </c:manualLayout>
      </c:layout>
      <c:doughnutChart>
        <c:varyColors val="1"/>
        <c:ser>
          <c:idx val="0"/>
          <c:order val="0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chemeClr val="accent2"/>
              </a:solidFill>
              <a:ln>
                <a:solidFill>
                  <a:srgbClr val="FFFFFF"/>
                </a:solidFill>
              </a:ln>
            </c:spPr>
          </c:dPt>
          <c:dPt>
            <c:idx val="1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solidFill>
                  <a:srgbClr val="FFFFFF"/>
                </a:solidFill>
              </a:ln>
            </c:spPr>
          </c:dPt>
          <c:dLbls>
            <c:delete val="1"/>
          </c:dLbls>
          <c:val>
            <c:numRef>
              <c:f>Sheet1!$D$2:$D$3</c:f>
              <c:numCache>
                <c:formatCode>General</c:formatCode>
                <c:ptCount val="2"/>
                <c:pt idx="0">
                  <c:v>2.94</c:v>
                </c:pt>
                <c:pt idx="1">
                  <c:v>2.06</c:v>
                </c:pt>
              </c:numCache>
            </c:numRef>
          </c:val>
        </c:ser>
        <c:ser>
          <c:idx val="1"/>
          <c:order val="1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FFC000"/>
              </a:solidFill>
              <a:ln>
                <a:solidFill>
                  <a:srgbClr val="FFFFFF"/>
                </a:solidFill>
              </a:ln>
            </c:spPr>
          </c:dPt>
          <c:dPt>
            <c:idx val="1"/>
            <c:bubble3D val="0"/>
            <c:spPr>
              <a:solidFill>
                <a:srgbClr val="00B050"/>
              </a:solidFill>
              <a:ln>
                <a:solidFill>
                  <a:srgbClr val="FFFFFF"/>
                </a:solidFill>
              </a:ln>
            </c:spPr>
          </c:dPt>
          <c:dLbls>
            <c:delete val="1"/>
          </c:dLbls>
          <c:val>
            <c:numRef>
              <c:f>Sheet1!$E$2:$E$3</c:f>
              <c:numCache>
                <c:formatCode>General</c:formatCode>
                <c:ptCount val="2"/>
                <c:pt idx="0">
                  <c:v>3.15</c:v>
                </c:pt>
                <c:pt idx="1">
                  <c:v>1.8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42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3709</cdr:x>
      <cdr:y>0.68887</cdr:y>
    </cdr:from>
    <cdr:to>
      <cdr:x>0.77281</cdr:x>
      <cdr:y>1</cdr:y>
    </cdr:to>
    <cdr:sp macro="" textlink="">
      <cdr:nvSpPr>
        <cdr:cNvPr id="2" name="Rounded Rectangle 1"/>
        <cdr:cNvSpPr/>
      </cdr:nvSpPr>
      <cdr:spPr bwMode="auto">
        <a:xfrm xmlns:a="http://schemas.openxmlformats.org/drawingml/2006/main">
          <a:off x="1788435" y="1568450"/>
          <a:ext cx="381000" cy="708406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 w="28575" cap="flat" cmpd="sng" algn="ctr">
          <a:solidFill>
            <a:schemeClr val="accent2">
              <a:lumMod val="50000"/>
            </a:schemeClr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rot="0" spcFirstLastPara="0" vert="horz" wrap="none" lIns="72390" tIns="72390" rIns="72390" bIns="7239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US"/>
          </a:defPPr>
          <a:lvl1pPr algn="ctr" rtl="0" fontAlgn="base">
            <a:spcBef>
              <a:spcPct val="20000"/>
            </a:spcBef>
            <a:spcAft>
              <a:spcPct val="0"/>
            </a:spcAft>
            <a:defRPr sz="10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1pPr>
          <a:lvl2pPr marL="457200" algn="ctr" rtl="0" fontAlgn="base">
            <a:spcBef>
              <a:spcPct val="20000"/>
            </a:spcBef>
            <a:spcAft>
              <a:spcPct val="0"/>
            </a:spcAft>
            <a:defRPr sz="10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2pPr>
          <a:lvl3pPr marL="914400" algn="ctr" rtl="0" fontAlgn="base">
            <a:spcBef>
              <a:spcPct val="20000"/>
            </a:spcBef>
            <a:spcAft>
              <a:spcPct val="0"/>
            </a:spcAft>
            <a:defRPr sz="10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3pPr>
          <a:lvl4pPr marL="1371600" algn="ctr" rtl="0" fontAlgn="base">
            <a:spcBef>
              <a:spcPct val="20000"/>
            </a:spcBef>
            <a:spcAft>
              <a:spcPct val="0"/>
            </a:spcAft>
            <a:defRPr sz="10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4pPr>
          <a:lvl5pPr marL="1828800" algn="ctr" rtl="0" fontAlgn="base">
            <a:spcBef>
              <a:spcPct val="20000"/>
            </a:spcBef>
            <a:spcAft>
              <a:spcPct val="0"/>
            </a:spcAft>
            <a:defRPr sz="10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sz="10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sz="10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sz="10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sz="10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9pPr>
        </a:lstStyle>
        <a:p xmlns:a="http://schemas.openxmlformats.org/drawingml/2006/main">
          <a:pPr marL="0" marR="0" indent="0" algn="l" defTabSz="914400" rtl="0" eaLnBrk="1" fontAlgn="base" latinLnBrk="0" hangingPunct="1">
            <a:lnSpc>
              <a:spcPct val="100000"/>
            </a:lnSpc>
            <a:spcBef>
              <a:spcPct val="20000"/>
            </a:spcBef>
            <a:spcAft>
              <a:spcPct val="0"/>
            </a:spcAft>
            <a:buClrTx/>
            <a:buSzTx/>
            <a:buFontTx/>
            <a:buNone/>
            <a:tabLst/>
          </a:pPr>
          <a:endParaRPr kumimoji="0" lang="en-US" sz="10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8" y="0"/>
            <a:ext cx="2972421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66" tIns="46580" rIns="93166" bIns="46580" numCol="1" anchor="t" anchorCtr="0" compatLnSpc="1">
            <a:prstTxWarp prst="textNoShape">
              <a:avLst/>
            </a:prstTxWarp>
          </a:bodyPr>
          <a:lstStyle>
            <a:lvl1pPr algn="l" defTabSz="931863">
              <a:spcBef>
                <a:spcPct val="0"/>
              </a:spcBef>
              <a:defRPr sz="1200"/>
            </a:lvl1pPr>
          </a:lstStyle>
          <a:p>
            <a:endParaRPr lang="en-US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5586" y="0"/>
            <a:ext cx="2972421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66" tIns="46580" rIns="93166" bIns="46580" numCol="1" anchor="t" anchorCtr="0" compatLnSpc="1">
            <a:prstTxWarp prst="textNoShape">
              <a:avLst/>
            </a:prstTxWarp>
          </a:bodyPr>
          <a:lstStyle>
            <a:lvl1pPr algn="r" defTabSz="931863">
              <a:spcBef>
                <a:spcPct val="0"/>
              </a:spcBef>
              <a:defRPr sz="1200"/>
            </a:lvl1pPr>
          </a:lstStyle>
          <a:p>
            <a:endParaRPr lang="en-US" dirty="0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8" y="8831270"/>
            <a:ext cx="2972421" cy="465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66" tIns="46580" rIns="93166" bIns="46580" numCol="1" anchor="b" anchorCtr="0" compatLnSpc="1">
            <a:prstTxWarp prst="textNoShape">
              <a:avLst/>
            </a:prstTxWarp>
          </a:bodyPr>
          <a:lstStyle>
            <a:lvl1pPr algn="l" defTabSz="931863">
              <a:spcBef>
                <a:spcPct val="0"/>
              </a:spcBef>
              <a:defRPr sz="1200"/>
            </a:lvl1pPr>
          </a:lstStyle>
          <a:p>
            <a:endParaRPr lang="en-US" dirty="0"/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5586" y="8831270"/>
            <a:ext cx="2972421" cy="465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66" tIns="46580" rIns="93166" bIns="46580" numCol="1" anchor="b" anchorCtr="0" compatLnSpc="1">
            <a:prstTxWarp prst="textNoShape">
              <a:avLst/>
            </a:prstTxWarp>
          </a:bodyPr>
          <a:lstStyle>
            <a:lvl1pPr algn="r" defTabSz="931863">
              <a:spcBef>
                <a:spcPct val="0"/>
              </a:spcBef>
              <a:defRPr sz="1200"/>
            </a:lvl1pPr>
          </a:lstStyle>
          <a:p>
            <a:fld id="{5E428F35-1BD8-4170-9767-9AE7AF4630E9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8155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8" y="0"/>
            <a:ext cx="2972421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66" tIns="46580" rIns="93166" bIns="46580" numCol="1" anchor="t" anchorCtr="0" compatLnSpc="1">
            <a:prstTxWarp prst="textNoShape">
              <a:avLst/>
            </a:prstTxWarp>
          </a:bodyPr>
          <a:lstStyle>
            <a:lvl1pPr algn="l" defTabSz="931863">
              <a:spcBef>
                <a:spcPct val="0"/>
              </a:spcBef>
              <a:defRPr sz="1200"/>
            </a:lvl1pPr>
          </a:lstStyle>
          <a:p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5586" y="0"/>
            <a:ext cx="2972421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66" tIns="46580" rIns="93166" bIns="46580" numCol="1" anchor="t" anchorCtr="0" compatLnSpc="1">
            <a:prstTxWarp prst="textNoShape">
              <a:avLst/>
            </a:prstTxWarp>
          </a:bodyPr>
          <a:lstStyle>
            <a:lvl1pPr algn="r" defTabSz="931863">
              <a:spcBef>
                <a:spcPct val="0"/>
              </a:spcBef>
              <a:defRPr sz="1200"/>
            </a:lvl1pPr>
          </a:lstStyle>
          <a:p>
            <a:endParaRPr lang="en-US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049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715" y="4416432"/>
            <a:ext cx="5028579" cy="4183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66" tIns="46580" rIns="93166" bIns="465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" y="8831270"/>
            <a:ext cx="2972421" cy="465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66" tIns="46580" rIns="93166" bIns="46580" numCol="1" anchor="b" anchorCtr="0" compatLnSpc="1">
            <a:prstTxWarp prst="textNoShape">
              <a:avLst/>
            </a:prstTxWarp>
          </a:bodyPr>
          <a:lstStyle>
            <a:lvl1pPr algn="l" defTabSz="931863">
              <a:spcBef>
                <a:spcPct val="0"/>
              </a:spcBef>
              <a:defRPr sz="1200"/>
            </a:lvl1pPr>
          </a:lstStyle>
          <a:p>
            <a:endParaRPr lang="en-US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5586" y="8831270"/>
            <a:ext cx="2972421" cy="465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166" tIns="46580" rIns="93166" bIns="46580" numCol="1" anchor="b" anchorCtr="0" compatLnSpc="1">
            <a:prstTxWarp prst="textNoShape">
              <a:avLst/>
            </a:prstTxWarp>
          </a:bodyPr>
          <a:lstStyle>
            <a:lvl1pPr algn="r" defTabSz="931863">
              <a:spcBef>
                <a:spcPct val="0"/>
              </a:spcBef>
              <a:defRPr sz="1200"/>
            </a:lvl1pPr>
          </a:lstStyle>
          <a:p>
            <a:fld id="{05D93ED5-F37F-4A01-A4DB-3EC0E31C9EB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637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975" indent="-180975" algn="l" rtl="0" fontAlgn="base">
      <a:spcBef>
        <a:spcPct val="30000"/>
      </a:spcBef>
      <a:spcAft>
        <a:spcPct val="0"/>
      </a:spcAft>
      <a:buFont typeface="Arial"/>
      <a:buChar char="•"/>
      <a:defRPr sz="1200" kern="1200">
        <a:solidFill>
          <a:schemeClr val="tx1"/>
        </a:solidFill>
        <a:latin typeface="Arial"/>
        <a:ea typeface="+mn-ea"/>
        <a:cs typeface="Arial" pitchFamily="34" charset="0"/>
      </a:defRPr>
    </a:lvl1pPr>
    <a:lvl2pPr marL="361950" indent="-180975" algn="l" rtl="0" fontAlgn="base">
      <a:spcBef>
        <a:spcPct val="30000"/>
      </a:spcBef>
      <a:spcAft>
        <a:spcPct val="0"/>
      </a:spcAft>
      <a:buFont typeface="Arial"/>
      <a:buChar char="–"/>
      <a:defRPr sz="1200" kern="1200">
        <a:solidFill>
          <a:schemeClr val="tx1"/>
        </a:solidFill>
        <a:latin typeface="Arial"/>
        <a:ea typeface="+mn-ea"/>
        <a:cs typeface="Arial" pitchFamily="34" charset="0"/>
      </a:defRPr>
    </a:lvl2pPr>
    <a:lvl3pPr marL="542925" indent="-180975" algn="l" rtl="0" fontAlgn="base">
      <a:spcBef>
        <a:spcPct val="30000"/>
      </a:spcBef>
      <a:spcAft>
        <a:spcPct val="0"/>
      </a:spcAft>
      <a:buFont typeface="Arial"/>
      <a:buChar char="–"/>
      <a:defRPr sz="1200" kern="1200">
        <a:solidFill>
          <a:schemeClr val="tx1"/>
        </a:solidFill>
        <a:latin typeface="Arial"/>
        <a:ea typeface="+mn-ea"/>
        <a:cs typeface="Arial" pitchFamily="34" charset="0"/>
      </a:defRPr>
    </a:lvl3pPr>
    <a:lvl4pPr marL="723900" indent="-180975" algn="l" rtl="0" fontAlgn="base">
      <a:spcBef>
        <a:spcPct val="30000"/>
      </a:spcBef>
      <a:spcAft>
        <a:spcPct val="0"/>
      </a:spcAft>
      <a:buFont typeface="Arial"/>
      <a:buChar char="–"/>
      <a:defRPr sz="1200" kern="1200">
        <a:solidFill>
          <a:schemeClr val="tx1"/>
        </a:solidFill>
        <a:latin typeface="Arial"/>
        <a:ea typeface="+mn-ea"/>
        <a:cs typeface="Arial" pitchFamily="34" charset="0"/>
      </a:defRPr>
    </a:lvl4pPr>
    <a:lvl5pPr marL="904875" indent="-180975" algn="l" rtl="0" fontAlgn="base">
      <a:spcBef>
        <a:spcPct val="30000"/>
      </a:spcBef>
      <a:spcAft>
        <a:spcPct val="0"/>
      </a:spcAft>
      <a:buFont typeface="Arial"/>
      <a:buChar char="–"/>
      <a:defRPr sz="1200" kern="1200">
        <a:solidFill>
          <a:schemeClr val="tx1"/>
        </a:solidFill>
        <a:latin typeface="Arial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Abhishe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7219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69191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2644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5170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88917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7264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9217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9117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76681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43987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7033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9017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9992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864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64142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8487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71196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2128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8850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88431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marR="0" indent="-180975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 smtClean="0"/>
              <a:t>Pallab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3553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Apart from work life balance, work environment is a highly discussed topic followed by management, training &amp; learning and work cul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29232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1391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93ED5-F37F-4A01-A4DB-3EC0E31C9EB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139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3.xml"/><Relationship Id="rId11" Type="http://schemas.openxmlformats.org/officeDocument/2006/relationships/oleObject" Target="../embeddings/oleObject5.bin"/><Relationship Id="rId5" Type="http://schemas.openxmlformats.org/officeDocument/2006/relationships/tags" Target="../tags/tag10.xml"/><Relationship Id="rId10" Type="http://schemas.openxmlformats.org/officeDocument/2006/relationships/image" Target="../media/image5.png"/><Relationship Id="rId4" Type="http://schemas.openxmlformats.org/officeDocument/2006/relationships/tags" Target="../tags/tag9.xml"/><Relationship Id="rId9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12.xml"/><Relationship Id="rId7" Type="http://schemas.openxmlformats.org/officeDocument/2006/relationships/image" Target="../media/image1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4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17.xml"/><Relationship Id="rId10" Type="http://schemas.openxmlformats.org/officeDocument/2006/relationships/image" Target="../media/image5.png"/><Relationship Id="rId4" Type="http://schemas.openxmlformats.org/officeDocument/2006/relationships/tags" Target="../tags/tag16.xml"/><Relationship Id="rId9" Type="http://schemas.openxmlformats.org/officeDocument/2006/relationships/image" Target="../media/image6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19.xml"/><Relationship Id="rId7" Type="http://schemas.openxmlformats.org/officeDocument/2006/relationships/image" Target="../media/image1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22.xml"/><Relationship Id="rId7" Type="http://schemas.openxmlformats.org/officeDocument/2006/relationships/image" Target="../media/image4.png"/><Relationship Id="rId12" Type="http://schemas.openxmlformats.org/officeDocument/2006/relationships/image" Target="../media/image12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5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24.xml"/><Relationship Id="rId10" Type="http://schemas.openxmlformats.org/officeDocument/2006/relationships/image" Target="../media/image5.png"/><Relationship Id="rId4" Type="http://schemas.openxmlformats.org/officeDocument/2006/relationships/tags" Target="../tags/tag23.xml"/><Relationship Id="rId9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26.xml"/><Relationship Id="rId7" Type="http://schemas.openxmlformats.org/officeDocument/2006/relationships/image" Target="../media/image11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12.jpe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29.xml"/><Relationship Id="rId7" Type="http://schemas.openxmlformats.org/officeDocument/2006/relationships/image" Target="../media/image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6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31.xml"/><Relationship Id="rId10" Type="http://schemas.openxmlformats.org/officeDocument/2006/relationships/image" Target="../media/image5.png"/><Relationship Id="rId4" Type="http://schemas.openxmlformats.org/officeDocument/2006/relationships/tags" Target="../tags/tag30.xml"/><Relationship Id="rId9" Type="http://schemas.openxmlformats.org/officeDocument/2006/relationships/image" Target="../media/image6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33.xml"/><Relationship Id="rId7" Type="http://schemas.openxmlformats.org/officeDocument/2006/relationships/image" Target="../media/image11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6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- MH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5" descr="H:\Strategy Toolbar\MHF 2013\MHFi Logos\Arrow-gray_large-light-c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848" y="768218"/>
            <a:ext cx="4801792" cy="3522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C:\My Documents\Strategy Toolbar\MHF 2013\MHFi Logos\MHF-red-pos-rgb-300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560" y="2780910"/>
            <a:ext cx="2716573" cy="697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59541" y="4395042"/>
            <a:ext cx="7522908" cy="4572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36000" numCol="1" anchor="b" anchorCtr="0" compatLnSpc="1">
            <a:prstTxWarp prst="textNoShape">
              <a:avLst/>
            </a:prstTxWarp>
          </a:bodyPr>
          <a:lstStyle>
            <a:lvl1pPr marL="173038" indent="-173038">
              <a:buNone/>
              <a:defRPr 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marL="0" lvl="0" indent="0" eaLnBrk="1" hangingPunct="1">
              <a:buClr>
                <a:schemeClr val="tx2"/>
              </a:buClr>
            </a:pPr>
            <a:r>
              <a:rPr lang="en-US" dirty="0" smtClean="0"/>
              <a:t>Meeting 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60732" y="4852242"/>
            <a:ext cx="7522908" cy="4572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6000" rIns="0" bIns="0" numCol="1" anchor="t" anchorCtr="0" compatLnSpc="1">
            <a:prstTxWarp prst="textNoShape">
              <a:avLst/>
            </a:prstTxWarp>
          </a:bodyPr>
          <a:lstStyle>
            <a:lvl1pPr marL="173038" indent="-173038">
              <a:buNone/>
              <a:defRPr 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marL="0" lvl="0" indent="0" eaLnBrk="1" hangingPunct="1">
              <a:buClr>
                <a:schemeClr val="tx2"/>
              </a:buClr>
            </a:pPr>
            <a:r>
              <a:rPr lang="en-GB" dirty="0" smtClean="0"/>
              <a:t>Meeting Date</a:t>
            </a:r>
            <a:endParaRPr lang="en-US" dirty="0" smtClean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981848" y="5517290"/>
            <a:ext cx="4801791" cy="36576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000" numCol="1" anchor="b" anchorCtr="0" compatLnSpc="1">
            <a:prstTxWarp prst="textNoShape">
              <a:avLst/>
            </a:prstTxWarp>
          </a:bodyPr>
          <a:lstStyle>
            <a:lvl1pPr marL="173038" indent="-173038">
              <a:buNone/>
              <a:defRPr lang="en-US" sz="2000" b="1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marL="0" lvl="0" indent="0" eaLnBrk="1" hangingPunct="1">
              <a:buClr>
                <a:schemeClr val="tx2"/>
              </a:buClr>
            </a:pPr>
            <a:r>
              <a:rPr lang="en-US" dirty="0" smtClean="0"/>
              <a:t>Author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981848" y="5883050"/>
            <a:ext cx="4801791" cy="36576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</a:bodyPr>
          <a:lstStyle>
            <a:lvl1pPr marL="173038" indent="-173038">
              <a:buNone/>
              <a:defRPr lang="en-US" sz="20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marL="0" lvl="0" indent="0" eaLnBrk="1" hangingPunct="1">
              <a:buClr>
                <a:schemeClr val="tx2"/>
              </a:buClr>
            </a:pPr>
            <a:r>
              <a:rPr lang="en-GB" dirty="0" smtClean="0"/>
              <a:t>Title, Business Unit</a:t>
            </a:r>
            <a:endParaRPr lang="en-US" dirty="0" smtClean="0"/>
          </a:p>
        </p:txBody>
      </p:sp>
      <p:cxnSp>
        <p:nvCxnSpPr>
          <p:cNvPr id="22" name="Straight Connector 21"/>
          <p:cNvCxnSpPr/>
          <p:nvPr userDrawn="1"/>
        </p:nvCxnSpPr>
        <p:spPr bwMode="auto">
          <a:xfrm>
            <a:off x="1259541" y="4284023"/>
            <a:ext cx="7524099" cy="1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Straight Connector 34"/>
          <p:cNvCxnSpPr/>
          <p:nvPr userDrawn="1"/>
        </p:nvCxnSpPr>
        <p:spPr bwMode="auto">
          <a:xfrm>
            <a:off x="360364" y="6461887"/>
            <a:ext cx="8423275" cy="0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259540" y="836640"/>
            <a:ext cx="7524099" cy="115216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3600" cap="all" baseline="0" dirty="0">
                <a:solidFill>
                  <a:srgbClr val="636466"/>
                </a:solidFill>
                <a:latin typeface="Calibri"/>
              </a:defRPr>
            </a:lvl1pPr>
          </a:lstStyle>
          <a:p>
            <a:pPr lvl="0" eaLnBrk="1" hangingPunct="1">
              <a:lnSpc>
                <a:spcPts val="2400"/>
              </a:lnSpc>
            </a:pPr>
            <a:r>
              <a:rPr lang="en-US" dirty="0" smtClean="0"/>
              <a:t>Document Title</a:t>
            </a:r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349644" y="6492240"/>
            <a:ext cx="1277915" cy="238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algn="l">
              <a:spcBef>
                <a:spcPct val="0"/>
              </a:spcBef>
            </a:pPr>
            <a:r>
              <a:rPr lang="en-US" sz="1200" noProof="1" smtClean="0">
                <a:solidFill>
                  <a:srgbClr val="E31837"/>
                </a:solidFill>
                <a:latin typeface="+mn-lt"/>
              </a:rPr>
              <a:t>McGraw Hill Financial </a:t>
            </a:r>
            <a:r>
              <a:rPr lang="en-US" sz="1200" noProof="1" smtClean="0">
                <a:solidFill>
                  <a:srgbClr val="000000"/>
                </a:solidFill>
                <a:latin typeface="+mn-lt"/>
              </a:rPr>
              <a:t>|</a:t>
            </a:r>
            <a:r>
              <a:rPr lang="en-US" sz="1200" baseline="0" noProof="1" smtClean="0">
                <a:solidFill>
                  <a:srgbClr val="000000"/>
                </a:solidFill>
                <a:latin typeface="+mn-lt"/>
              </a:rPr>
              <a:t> Presentation</a:t>
            </a:r>
            <a:endParaRPr lang="en-US" sz="1200" noProof="1" smtClean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63948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Slide - MH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rrow-gray_large_light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848" y="768096"/>
            <a:ext cx="4800600" cy="352242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59540" y="836640"/>
            <a:ext cx="6768940" cy="648090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000" b="1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&lt;&lt;Title&gt;&gt;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59540" y="4585736"/>
            <a:ext cx="6768448" cy="283464"/>
          </a:xfrm>
          <a:prstGeom prst="rect">
            <a:avLst/>
          </a:prstGeom>
        </p:spPr>
        <p:txBody>
          <a:bodyPr wrap="none" rIns="0" anchor="ctr" anchorCtr="0"/>
          <a:lstStyle>
            <a:lvl1pPr marL="0" indent="0">
              <a:buNone/>
              <a:defRPr sz="22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000">
                <a:solidFill>
                  <a:schemeClr val="accent2"/>
                </a:solidFill>
              </a:defRPr>
            </a:lvl3pPr>
            <a:lvl4pPr>
              <a:defRPr sz="2000">
                <a:solidFill>
                  <a:schemeClr val="accent2"/>
                </a:solidFill>
              </a:defRPr>
            </a:lvl4pPr>
            <a:lvl5pPr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&lt;&lt;Author&gt;&gt;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59540" y="5089806"/>
            <a:ext cx="6768448" cy="283464"/>
          </a:xfrm>
          <a:prstGeom prst="rect">
            <a:avLst/>
          </a:prstGeom>
        </p:spPr>
        <p:txBody>
          <a:bodyPr wrap="none" rIns="0" anchor="ctr" anchorCtr="0"/>
          <a:lstStyle>
            <a:lvl1pPr marL="0" indent="0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000">
                <a:solidFill>
                  <a:schemeClr val="accent2"/>
                </a:solidFill>
              </a:defRPr>
            </a:lvl3pPr>
            <a:lvl4pPr>
              <a:defRPr sz="2000">
                <a:solidFill>
                  <a:schemeClr val="accent2"/>
                </a:solidFill>
              </a:defRPr>
            </a:lvl4pPr>
            <a:lvl5pPr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 smtClean="0"/>
              <a:t>&lt;&lt;Meeting Date&gt;&gt;</a:t>
            </a:r>
            <a:endParaRPr lang="en-US" dirty="0" smtClean="0"/>
          </a:p>
        </p:txBody>
      </p:sp>
      <p:pic>
        <p:nvPicPr>
          <p:cNvPr id="4" name="Picture 3" descr="MHF-red-pos-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49" y="2953512"/>
            <a:ext cx="2057400" cy="420773"/>
          </a:xfrm>
          <a:prstGeom prst="rect">
            <a:avLst/>
          </a:prstGeom>
        </p:spPr>
      </p:pic>
      <p:cxnSp>
        <p:nvCxnSpPr>
          <p:cNvPr id="21" name="Straight Connector 20"/>
          <p:cNvCxnSpPr/>
          <p:nvPr userDrawn="1"/>
        </p:nvCxnSpPr>
        <p:spPr bwMode="auto">
          <a:xfrm>
            <a:off x="1259540" y="4284022"/>
            <a:ext cx="7524099" cy="1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Rectangle 21"/>
          <p:cNvSpPr>
            <a:spLocks noChangeArrowheads="1"/>
          </p:cNvSpPr>
          <p:nvPr userDrawn="1"/>
        </p:nvSpPr>
        <p:spPr bwMode="gray">
          <a:xfrm>
            <a:off x="3203810" y="6453420"/>
            <a:ext cx="2743200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900" kern="800" spc="100" dirty="0">
                <a:solidFill>
                  <a:srgbClr val="E31837"/>
                </a:solidFill>
                <a:latin typeface="Arial"/>
              </a:rPr>
              <a:t>CONFIDENTIAL &amp; PROPRIETARY</a:t>
            </a:r>
          </a:p>
        </p:txBody>
      </p:sp>
      <p:cxnSp>
        <p:nvCxnSpPr>
          <p:cNvPr id="24" name="Straight Connector 23"/>
          <p:cNvCxnSpPr/>
          <p:nvPr userDrawn="1"/>
        </p:nvCxnSpPr>
        <p:spPr bwMode="auto">
          <a:xfrm>
            <a:off x="349644" y="6461887"/>
            <a:ext cx="8433995" cy="0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itle 1"/>
          <p:cNvSpPr txBox="1">
            <a:spLocks/>
          </p:cNvSpPr>
          <p:nvPr userDrawn="1"/>
        </p:nvSpPr>
        <p:spPr bwMode="auto">
          <a:xfrm>
            <a:off x="349644" y="6453420"/>
            <a:ext cx="1846026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1800"/>
              </a:spcAft>
              <a:defRPr sz="40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900" dirty="0" smtClean="0">
                <a:solidFill>
                  <a:srgbClr val="E31837"/>
                </a:solidFill>
              </a:rPr>
              <a:t>McGraw Hill Financial </a:t>
            </a:r>
            <a:r>
              <a:rPr lang="en-US" sz="900" dirty="0" smtClean="0">
                <a:solidFill>
                  <a:srgbClr val="000000"/>
                </a:solidFill>
              </a:rPr>
              <a:t>| Presentation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258888" y="1575738"/>
            <a:ext cx="6769100" cy="773112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&lt;&lt;Sub-Title&gt;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250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loser-MH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My Documents\Strategy Toolbar\MHF 2013\MHFi Logos\back-slide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5" t="6367" r="11794" b="6367"/>
          <a:stretch/>
        </p:blipFill>
        <p:spPr bwMode="auto">
          <a:xfrm>
            <a:off x="3174" y="-1"/>
            <a:ext cx="9140825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My Documents\Strategy Toolbar\MHF 2013\MHFi Logos\MHFEI-red-pos-rgb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66" y="2218095"/>
            <a:ext cx="7320472" cy="2421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3101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 - MH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rrow-gray_large_light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848" y="768096"/>
            <a:ext cx="4800600" cy="352242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59540" y="836640"/>
            <a:ext cx="6768940" cy="648090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000" b="1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&lt;&lt;Title&gt;&gt;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59540" y="4585736"/>
            <a:ext cx="6768448" cy="283464"/>
          </a:xfrm>
          <a:prstGeom prst="rect">
            <a:avLst/>
          </a:prstGeom>
        </p:spPr>
        <p:txBody>
          <a:bodyPr wrap="none" rIns="0" anchor="ctr" anchorCtr="0"/>
          <a:lstStyle>
            <a:lvl1pPr marL="0" indent="0">
              <a:buNone/>
              <a:defRPr sz="22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000">
                <a:solidFill>
                  <a:schemeClr val="accent2"/>
                </a:solidFill>
              </a:defRPr>
            </a:lvl3pPr>
            <a:lvl4pPr>
              <a:defRPr sz="2000">
                <a:solidFill>
                  <a:schemeClr val="accent2"/>
                </a:solidFill>
              </a:defRPr>
            </a:lvl4pPr>
            <a:lvl5pPr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&lt;&lt;Author&gt;&gt;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59540" y="5089806"/>
            <a:ext cx="6768448" cy="283464"/>
          </a:xfrm>
          <a:prstGeom prst="rect">
            <a:avLst/>
          </a:prstGeom>
        </p:spPr>
        <p:txBody>
          <a:bodyPr wrap="none" rIns="0" anchor="ctr" anchorCtr="0"/>
          <a:lstStyle>
            <a:lvl1pPr marL="0" indent="0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000">
                <a:solidFill>
                  <a:schemeClr val="accent2"/>
                </a:solidFill>
              </a:defRPr>
            </a:lvl3pPr>
            <a:lvl4pPr>
              <a:defRPr sz="2000">
                <a:solidFill>
                  <a:schemeClr val="accent2"/>
                </a:solidFill>
              </a:defRPr>
            </a:lvl4pPr>
            <a:lvl5pPr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 smtClean="0"/>
              <a:t>&lt;&lt;Meeting Date&gt;&gt;</a:t>
            </a:r>
            <a:endParaRPr lang="en-US" dirty="0" smtClean="0"/>
          </a:p>
        </p:txBody>
      </p:sp>
      <p:pic>
        <p:nvPicPr>
          <p:cNvPr id="4" name="Picture 3" descr="MHF-red-pos-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49" y="2953512"/>
            <a:ext cx="2057400" cy="420773"/>
          </a:xfrm>
          <a:prstGeom prst="rect">
            <a:avLst/>
          </a:prstGeom>
        </p:spPr>
      </p:pic>
      <p:cxnSp>
        <p:nvCxnSpPr>
          <p:cNvPr id="21" name="Straight Connector 20"/>
          <p:cNvCxnSpPr/>
          <p:nvPr userDrawn="1"/>
        </p:nvCxnSpPr>
        <p:spPr bwMode="auto">
          <a:xfrm>
            <a:off x="1259540" y="4284022"/>
            <a:ext cx="7524099" cy="1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Rectangle 21"/>
          <p:cNvSpPr>
            <a:spLocks noChangeArrowheads="1"/>
          </p:cNvSpPr>
          <p:nvPr userDrawn="1"/>
        </p:nvSpPr>
        <p:spPr bwMode="gray">
          <a:xfrm>
            <a:off x="3203810" y="6453420"/>
            <a:ext cx="2743200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900" kern="800" spc="100" dirty="0">
                <a:solidFill>
                  <a:srgbClr val="E31837"/>
                </a:solidFill>
                <a:latin typeface="Arial"/>
              </a:rPr>
              <a:t>CONFIDENTIAL &amp; PROPRIETARY</a:t>
            </a:r>
          </a:p>
        </p:txBody>
      </p:sp>
      <p:cxnSp>
        <p:nvCxnSpPr>
          <p:cNvPr id="24" name="Straight Connector 23"/>
          <p:cNvCxnSpPr/>
          <p:nvPr userDrawn="1"/>
        </p:nvCxnSpPr>
        <p:spPr bwMode="auto">
          <a:xfrm>
            <a:off x="349644" y="6461887"/>
            <a:ext cx="8433995" cy="0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itle 1"/>
          <p:cNvSpPr txBox="1">
            <a:spLocks/>
          </p:cNvSpPr>
          <p:nvPr userDrawn="1"/>
        </p:nvSpPr>
        <p:spPr bwMode="auto">
          <a:xfrm>
            <a:off x="349644" y="6453420"/>
            <a:ext cx="1846026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1800"/>
              </a:spcAft>
              <a:defRPr sz="40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900" dirty="0" smtClean="0">
                <a:solidFill>
                  <a:srgbClr val="E31837"/>
                </a:solidFill>
              </a:rPr>
              <a:t>McGraw Hill Financial </a:t>
            </a:r>
            <a:r>
              <a:rPr lang="en-US" sz="900" dirty="0" smtClean="0">
                <a:solidFill>
                  <a:srgbClr val="000000"/>
                </a:solidFill>
              </a:rPr>
              <a:t>| Presentation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258888" y="1575738"/>
            <a:ext cx="6769100" cy="773112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&lt;&lt;Sub-Title&gt;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250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ver Slide - MH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rrow-gray_large_light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848" y="768096"/>
            <a:ext cx="4800600" cy="352242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59540" y="836640"/>
            <a:ext cx="6768940" cy="648090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000" b="1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&lt;&lt;Title&gt;&gt;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59540" y="4585736"/>
            <a:ext cx="6768448" cy="283464"/>
          </a:xfrm>
          <a:prstGeom prst="rect">
            <a:avLst/>
          </a:prstGeom>
        </p:spPr>
        <p:txBody>
          <a:bodyPr wrap="none" rIns="0" anchor="ctr" anchorCtr="0"/>
          <a:lstStyle>
            <a:lvl1pPr marL="0" indent="0">
              <a:buNone/>
              <a:defRPr sz="22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000">
                <a:solidFill>
                  <a:schemeClr val="accent2"/>
                </a:solidFill>
              </a:defRPr>
            </a:lvl3pPr>
            <a:lvl4pPr>
              <a:defRPr sz="2000">
                <a:solidFill>
                  <a:schemeClr val="accent2"/>
                </a:solidFill>
              </a:defRPr>
            </a:lvl4pPr>
            <a:lvl5pPr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&lt;&lt;Author&gt;&gt;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59540" y="5089806"/>
            <a:ext cx="6768448" cy="283464"/>
          </a:xfrm>
          <a:prstGeom prst="rect">
            <a:avLst/>
          </a:prstGeom>
        </p:spPr>
        <p:txBody>
          <a:bodyPr wrap="none" rIns="0" anchor="ctr" anchorCtr="0"/>
          <a:lstStyle>
            <a:lvl1pPr marL="0" indent="0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000">
                <a:solidFill>
                  <a:schemeClr val="accent2"/>
                </a:solidFill>
              </a:defRPr>
            </a:lvl3pPr>
            <a:lvl4pPr>
              <a:defRPr sz="2000">
                <a:solidFill>
                  <a:schemeClr val="accent2"/>
                </a:solidFill>
              </a:defRPr>
            </a:lvl4pPr>
            <a:lvl5pPr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 smtClean="0"/>
              <a:t>&lt;&lt;Meeting Date&gt;&gt;</a:t>
            </a:r>
            <a:endParaRPr lang="en-US" dirty="0" smtClean="0"/>
          </a:p>
        </p:txBody>
      </p:sp>
      <p:pic>
        <p:nvPicPr>
          <p:cNvPr id="4" name="Picture 3" descr="MHF-red-pos-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49" y="2953512"/>
            <a:ext cx="2057400" cy="420773"/>
          </a:xfrm>
          <a:prstGeom prst="rect">
            <a:avLst/>
          </a:prstGeom>
        </p:spPr>
      </p:pic>
      <p:cxnSp>
        <p:nvCxnSpPr>
          <p:cNvPr id="21" name="Straight Connector 20"/>
          <p:cNvCxnSpPr/>
          <p:nvPr userDrawn="1"/>
        </p:nvCxnSpPr>
        <p:spPr bwMode="auto">
          <a:xfrm>
            <a:off x="1259540" y="4284022"/>
            <a:ext cx="7524099" cy="1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Rectangle 21"/>
          <p:cNvSpPr>
            <a:spLocks noChangeArrowheads="1"/>
          </p:cNvSpPr>
          <p:nvPr userDrawn="1"/>
        </p:nvSpPr>
        <p:spPr bwMode="gray">
          <a:xfrm>
            <a:off x="3203810" y="6453420"/>
            <a:ext cx="2743200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900" kern="800" spc="100" dirty="0">
                <a:solidFill>
                  <a:srgbClr val="E31837"/>
                </a:solidFill>
                <a:latin typeface="Arial"/>
              </a:rPr>
              <a:t>CONFIDENTIAL &amp; PROPRIETARY</a:t>
            </a:r>
          </a:p>
        </p:txBody>
      </p:sp>
      <p:cxnSp>
        <p:nvCxnSpPr>
          <p:cNvPr id="24" name="Straight Connector 23"/>
          <p:cNvCxnSpPr/>
          <p:nvPr userDrawn="1"/>
        </p:nvCxnSpPr>
        <p:spPr bwMode="auto">
          <a:xfrm>
            <a:off x="349644" y="6461887"/>
            <a:ext cx="8433995" cy="0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itle 1"/>
          <p:cNvSpPr txBox="1">
            <a:spLocks/>
          </p:cNvSpPr>
          <p:nvPr userDrawn="1"/>
        </p:nvSpPr>
        <p:spPr bwMode="auto">
          <a:xfrm>
            <a:off x="349644" y="6453420"/>
            <a:ext cx="1846026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1800"/>
              </a:spcAft>
              <a:defRPr sz="40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900" dirty="0" smtClean="0">
                <a:solidFill>
                  <a:srgbClr val="E31837"/>
                </a:solidFill>
              </a:rPr>
              <a:t>McGraw Hill Financial </a:t>
            </a:r>
            <a:r>
              <a:rPr lang="en-US" sz="900" dirty="0" smtClean="0">
                <a:solidFill>
                  <a:srgbClr val="000000"/>
                </a:solidFill>
              </a:rPr>
              <a:t>| Presentation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258888" y="1575738"/>
            <a:ext cx="6769100" cy="773112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&lt;&lt;Sub-Title&gt;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250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loser-MH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My Documents\Strategy Toolbar\MHF 2013\MHFi Logos\back-slide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5" t="6367" r="11794" b="6367"/>
          <a:stretch/>
        </p:blipFill>
        <p:spPr bwMode="auto">
          <a:xfrm>
            <a:off x="3174" y="-1"/>
            <a:ext cx="9140825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My Documents\Strategy Toolbar\MHF 2013\MHFi Logos\MHFEI-red-pos-rgb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66" y="2218095"/>
            <a:ext cx="7320472" cy="2421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3101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1009-0F2E-4982-A409-76E1796766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0651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1009-0F2E-4982-A409-76E1796766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393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1009-0F2E-4982-A409-76E1796766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830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1009-0F2E-4982-A409-76E1796766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6785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1009-0F2E-4982-A409-76E1796766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129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827088" y="1187450"/>
            <a:ext cx="7956550" cy="519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804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1009-0F2E-4982-A409-76E1796766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428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1009-0F2E-4982-A409-76E1796766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989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1009-0F2E-4982-A409-76E1796766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624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1009-0F2E-4982-A409-76E1796766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675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1009-0F2E-4982-A409-76E1796766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62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smtClean="0">
                <a:solidFill>
                  <a:srgbClr val="E31837"/>
                </a:solidFill>
              </a:rPr>
              <a:t>McGraw Hill Financial </a:t>
            </a:r>
            <a:r>
              <a:rPr lang="en-US" smtClean="0">
                <a:solidFill>
                  <a:srgbClr val="000000"/>
                </a:solidFill>
              </a:rPr>
              <a:t>| Presentation</a:t>
            </a:r>
          </a:p>
          <a:p>
            <a:endParaRPr lang="en-US" sz="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77000"/>
            <a:ext cx="2895600" cy="365125"/>
          </a:xfrm>
        </p:spPr>
        <p:txBody>
          <a:bodyPr anchor="t"/>
          <a:lstStyle>
            <a:lvl1pPr>
              <a:defRPr sz="900"/>
            </a:lvl1pPr>
          </a:lstStyle>
          <a:p>
            <a:r>
              <a:rPr lang="en-US" kern="800" spc="100" smtClean="0">
                <a:solidFill>
                  <a:srgbClr val="E31837"/>
                </a:solidFill>
                <a:latin typeface="Arial"/>
              </a:rPr>
              <a:t>CONFIDENTIAL &amp; PROPRIETARY</a:t>
            </a:r>
          </a:p>
          <a:p>
            <a:endParaRPr lang="en-US" sz="8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1009-0F2E-4982-A409-76E1796766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564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Slide - MH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rrow-gray_large_light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848" y="768096"/>
            <a:ext cx="4800600" cy="352242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59540" y="836640"/>
            <a:ext cx="6768940" cy="648090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000" b="1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&lt;&lt;Title&gt;&gt;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59540" y="4585736"/>
            <a:ext cx="6768448" cy="283464"/>
          </a:xfrm>
          <a:prstGeom prst="rect">
            <a:avLst/>
          </a:prstGeom>
        </p:spPr>
        <p:txBody>
          <a:bodyPr wrap="none" rIns="0" anchor="ctr" anchorCtr="0"/>
          <a:lstStyle>
            <a:lvl1pPr marL="0" indent="0">
              <a:buNone/>
              <a:defRPr sz="22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000">
                <a:solidFill>
                  <a:schemeClr val="accent2"/>
                </a:solidFill>
              </a:defRPr>
            </a:lvl3pPr>
            <a:lvl4pPr>
              <a:defRPr sz="2000">
                <a:solidFill>
                  <a:schemeClr val="accent2"/>
                </a:solidFill>
              </a:defRPr>
            </a:lvl4pPr>
            <a:lvl5pPr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&lt;&lt;Author&gt;&gt;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59540" y="5089806"/>
            <a:ext cx="6768448" cy="283464"/>
          </a:xfrm>
          <a:prstGeom prst="rect">
            <a:avLst/>
          </a:prstGeom>
        </p:spPr>
        <p:txBody>
          <a:bodyPr wrap="none" rIns="0" anchor="ctr" anchorCtr="0"/>
          <a:lstStyle>
            <a:lvl1pPr marL="0" indent="0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000">
                <a:solidFill>
                  <a:schemeClr val="accent2"/>
                </a:solidFill>
              </a:defRPr>
            </a:lvl3pPr>
            <a:lvl4pPr>
              <a:defRPr sz="2000">
                <a:solidFill>
                  <a:schemeClr val="accent2"/>
                </a:solidFill>
              </a:defRPr>
            </a:lvl4pPr>
            <a:lvl5pPr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 smtClean="0"/>
              <a:t>&lt;&lt;Meeting Date&gt;&gt;</a:t>
            </a:r>
            <a:endParaRPr lang="en-US" dirty="0" smtClean="0"/>
          </a:p>
        </p:txBody>
      </p:sp>
      <p:pic>
        <p:nvPicPr>
          <p:cNvPr id="4" name="Picture 3" descr="MHF-red-pos-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49" y="2953512"/>
            <a:ext cx="2057400" cy="420773"/>
          </a:xfrm>
          <a:prstGeom prst="rect">
            <a:avLst/>
          </a:prstGeom>
        </p:spPr>
      </p:pic>
      <p:cxnSp>
        <p:nvCxnSpPr>
          <p:cNvPr id="21" name="Straight Connector 20"/>
          <p:cNvCxnSpPr/>
          <p:nvPr userDrawn="1"/>
        </p:nvCxnSpPr>
        <p:spPr bwMode="auto">
          <a:xfrm>
            <a:off x="1259540" y="4284022"/>
            <a:ext cx="7524099" cy="1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Rectangle 21"/>
          <p:cNvSpPr>
            <a:spLocks noChangeArrowheads="1"/>
          </p:cNvSpPr>
          <p:nvPr userDrawn="1"/>
        </p:nvSpPr>
        <p:spPr bwMode="gray">
          <a:xfrm>
            <a:off x="3203810" y="6453420"/>
            <a:ext cx="2743200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900" kern="800" spc="100" dirty="0">
                <a:solidFill>
                  <a:srgbClr val="E31837"/>
                </a:solidFill>
                <a:latin typeface="Arial"/>
              </a:rPr>
              <a:t>CONFIDENTIAL &amp; PROPRIETARY</a:t>
            </a:r>
          </a:p>
        </p:txBody>
      </p:sp>
      <p:cxnSp>
        <p:nvCxnSpPr>
          <p:cNvPr id="24" name="Straight Connector 23"/>
          <p:cNvCxnSpPr/>
          <p:nvPr userDrawn="1"/>
        </p:nvCxnSpPr>
        <p:spPr bwMode="auto">
          <a:xfrm>
            <a:off x="349644" y="6461887"/>
            <a:ext cx="8433995" cy="0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itle 1"/>
          <p:cNvSpPr txBox="1">
            <a:spLocks/>
          </p:cNvSpPr>
          <p:nvPr userDrawn="1"/>
        </p:nvSpPr>
        <p:spPr bwMode="auto">
          <a:xfrm>
            <a:off x="349644" y="6427110"/>
            <a:ext cx="2854166" cy="2549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1800"/>
              </a:spcAft>
              <a:defRPr sz="40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900" dirty="0" smtClean="0">
                <a:solidFill>
                  <a:srgbClr val="E31837"/>
                </a:solidFill>
              </a:rPr>
              <a:t>McGraw Hill Financial </a:t>
            </a:r>
            <a:r>
              <a:rPr lang="en-US" sz="900" dirty="0" smtClean="0">
                <a:solidFill>
                  <a:srgbClr val="000000"/>
                </a:solidFill>
              </a:rPr>
              <a:t>| HR</a:t>
            </a:r>
            <a:r>
              <a:rPr lang="en-US" sz="900" baseline="0" dirty="0" smtClean="0">
                <a:solidFill>
                  <a:srgbClr val="000000"/>
                </a:solidFill>
              </a:rPr>
              <a:t> Insights &amp; Analytics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1258888" y="1575738"/>
            <a:ext cx="6769100" cy="773112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&lt;&lt;Sub-Title&gt;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250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 - MH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H:\Strategy Toolbar\MHF 2013\MHFi Logos\Arrow-gray_large-light-c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25" y="768350"/>
            <a:ext cx="4432300" cy="352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46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46050" cy="1587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endParaRPr lang="en-US" altLang="en-US" sz="1400" smtClean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pic>
        <p:nvPicPr>
          <p:cNvPr id="10" name="Picture 2" descr="C:\My Documents\Strategy Toolbar\MHF 2013\MHFi Logos\MHF-red-pos-rgb-300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75" y="2917825"/>
            <a:ext cx="1903413" cy="52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10"/>
          <p:cNvCxnSpPr/>
          <p:nvPr/>
        </p:nvCxnSpPr>
        <p:spPr bwMode="auto">
          <a:xfrm>
            <a:off x="1258888" y="4284663"/>
            <a:ext cx="7524750" cy="0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4"/>
          <p:cNvCxnSpPr>
            <a:cxnSpLocks noChangeShapeType="1"/>
          </p:cNvCxnSpPr>
          <p:nvPr/>
        </p:nvCxnSpPr>
        <p:spPr bwMode="auto">
          <a:xfrm>
            <a:off x="360363" y="6461125"/>
            <a:ext cx="8423275" cy="0"/>
          </a:xfrm>
          <a:prstGeom prst="line">
            <a:avLst/>
          </a:prstGeom>
          <a:noFill/>
          <a:ln w="6350" algn="ctr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Picture 5" descr="H:\Strategy Toolbar\MHF 2013\MHFi Logos\Arrow-gray_large-light-c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450" y="768350"/>
            <a:ext cx="4802188" cy="352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8" name="Object 15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47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endParaRPr lang="en-US" altLang="en-US" sz="1400" smtClean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auto">
          <a:xfrm>
            <a:off x="1258888" y="4284663"/>
            <a:ext cx="7524750" cy="0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Rectangle 20" descr="casecode"/>
          <p:cNvSpPr>
            <a:spLocks noChangeArrowheads="1"/>
          </p:cNvSpPr>
          <p:nvPr userDrawn="1"/>
        </p:nvSpPr>
        <p:spPr bwMode="auto">
          <a:xfrm>
            <a:off x="1455738" y="6492875"/>
            <a:ext cx="2219325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0">
              <a:spcBef>
                <a:spcPct val="0"/>
              </a:spcBef>
              <a:defRPr/>
            </a:pPr>
            <a:r>
              <a:rPr lang="en-GB" altLang="en-US" sz="900" noProof="1" smtClean="0">
                <a:solidFill>
                  <a:srgbClr val="000000"/>
                </a:solidFill>
                <a:latin typeface="Calibri" pitchFamily="34" charset="0"/>
              </a:rPr>
              <a:t>JDPA Business Human Capital Report Sept Draft 2015.pptx</a:t>
            </a:r>
            <a:endParaRPr lang="en-US" altLang="en-US" sz="900" noProof="1" smtClean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2" name="Straight Connector 19"/>
          <p:cNvCxnSpPr>
            <a:cxnSpLocks noChangeShapeType="1"/>
          </p:cNvCxnSpPr>
          <p:nvPr userDrawn="1"/>
        </p:nvCxnSpPr>
        <p:spPr bwMode="auto">
          <a:xfrm>
            <a:off x="360363" y="6461125"/>
            <a:ext cx="8423275" cy="0"/>
          </a:xfrm>
          <a:prstGeom prst="line">
            <a:avLst/>
          </a:prstGeom>
          <a:noFill/>
          <a:ln w="6350" algn="ctr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Rectangle 23"/>
          <p:cNvSpPr>
            <a:spLocks noChangeArrowheads="1"/>
          </p:cNvSpPr>
          <p:nvPr userDrawn="1"/>
        </p:nvSpPr>
        <p:spPr bwMode="auto">
          <a:xfrm>
            <a:off x="349250" y="6492875"/>
            <a:ext cx="1277938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0">
              <a:spcBef>
                <a:spcPct val="0"/>
              </a:spcBef>
              <a:defRPr/>
            </a:pPr>
            <a:r>
              <a:rPr lang="en-US" altLang="en-US" sz="900" noProof="1" smtClean="0">
                <a:solidFill>
                  <a:srgbClr val="E31837"/>
                </a:solidFill>
                <a:latin typeface="Calibri" pitchFamily="34" charset="0"/>
              </a:rPr>
              <a:t>McGraw Hill Financial </a:t>
            </a:r>
            <a:r>
              <a:rPr lang="en-US" altLang="en-US" sz="900" noProof="1" smtClean="0">
                <a:solidFill>
                  <a:srgbClr val="000000"/>
                </a:solidFill>
                <a:latin typeface="Calibri" pitchFamily="34" charset="0"/>
              </a:rPr>
              <a:t>|</a:t>
            </a:r>
          </a:p>
        </p:txBody>
      </p:sp>
      <p:sp>
        <p:nvSpPr>
          <p:cNvPr id="24" name="Rectangle 23"/>
          <p:cNvSpPr>
            <a:spLocks noChangeArrowheads="1"/>
          </p:cNvSpPr>
          <p:nvPr userDrawn="1"/>
        </p:nvSpPr>
        <p:spPr bwMode="gray">
          <a:xfrm>
            <a:off x="3471863" y="6592888"/>
            <a:ext cx="4856162" cy="13811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lIns="216000" tIns="0" rIns="0" bIns="0" anchor="b"/>
          <a:lstStyle/>
          <a:p>
            <a:pPr algn="l" eaLnBrk="0" hangingPunct="0">
              <a:spcBef>
                <a:spcPct val="0"/>
              </a:spcBef>
              <a:defRPr/>
            </a:pPr>
            <a:r>
              <a:rPr lang="en-US" sz="900" kern="800" spc="100" dirty="0">
                <a:solidFill>
                  <a:srgbClr val="E31837"/>
                </a:solidFill>
                <a:latin typeface="Calibri"/>
              </a:rPr>
              <a:t>CONFIDENTIAL &amp; PROPRIETARY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259542" y="4395042"/>
            <a:ext cx="7522908" cy="2834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bIns="36000" anchor="b"/>
          <a:lstStyle>
            <a:lvl1pPr marL="173038" indent="-173038">
              <a:buNone/>
              <a:defRPr lang="en-US" sz="18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1259542" y="4678505"/>
            <a:ext cx="7522908" cy="2834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36000"/>
          <a:lstStyle>
            <a:lvl1pPr marL="173038" indent="-173038">
              <a:buNone/>
              <a:defRPr lang="en-US" sz="18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377526" y="5633323"/>
            <a:ext cx="4404924" cy="2346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18000" anchor="b"/>
          <a:lstStyle>
            <a:lvl1pPr marL="173038" indent="-173038">
              <a:buNone/>
              <a:defRPr lang="en-US" sz="1200" b="1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377526" y="5867998"/>
            <a:ext cx="4404924" cy="22537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18000"/>
          <a:lstStyle>
            <a:lvl1pPr marL="173038" indent="-173038">
              <a:buNone/>
              <a:defRPr lang="en-US" sz="1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59541" y="836640"/>
            <a:ext cx="7524099" cy="115216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>
            <a:lvl1pPr>
              <a:defRPr lang="en-US" sz="2400" cap="all" baseline="0" dirty="0">
                <a:solidFill>
                  <a:schemeClr val="bg2">
                    <a:lumMod val="7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228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7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5"/>
          <p:cNvCxnSpPr>
            <a:cxnSpLocks noChangeShapeType="1"/>
          </p:cNvCxnSpPr>
          <p:nvPr/>
        </p:nvCxnSpPr>
        <p:spPr bwMode="auto">
          <a:xfrm>
            <a:off x="827088" y="685800"/>
            <a:ext cx="7956550" cy="0"/>
          </a:xfrm>
          <a:prstGeom prst="line">
            <a:avLst/>
          </a:prstGeom>
          <a:noFill/>
          <a:ln w="19050" algn="ctr">
            <a:solidFill>
              <a:srgbClr val="E3183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22"/>
          <p:cNvCxnSpPr>
            <a:cxnSpLocks noChangeShapeType="1"/>
          </p:cNvCxnSpPr>
          <p:nvPr/>
        </p:nvCxnSpPr>
        <p:spPr bwMode="auto">
          <a:xfrm>
            <a:off x="360363" y="6553200"/>
            <a:ext cx="8423275" cy="0"/>
          </a:xfrm>
          <a:prstGeom prst="line">
            <a:avLst/>
          </a:prstGeom>
          <a:noFill/>
          <a:ln w="6350" algn="ctr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TextBox 8"/>
          <p:cNvSpPr txBox="1">
            <a:spLocks noChangeArrowheads="1"/>
          </p:cNvSpPr>
          <p:nvPr/>
        </p:nvSpPr>
        <p:spPr bwMode="auto">
          <a:xfrm>
            <a:off x="8278813" y="6623050"/>
            <a:ext cx="504825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spcBef>
                <a:spcPct val="0"/>
              </a:spcBef>
              <a:defRPr/>
            </a:pPr>
            <a:fld id="{722E051D-1D4A-4CA9-A05E-F1B381003F9E}" type="slidenum">
              <a:rPr lang="en-US" altLang="en-US" sz="900" smtClean="0">
                <a:solidFill>
                  <a:srgbClr val="404040"/>
                </a:solidFill>
                <a:latin typeface="Calibri" pitchFamily="34" charset="0"/>
              </a:rPr>
              <a:pPr algn="r" eaLnBrk="0" hangingPunct="0">
                <a:spcBef>
                  <a:spcPct val="0"/>
                </a:spcBef>
                <a:defRPr/>
              </a:pPr>
              <a:t>‹#›</a:t>
            </a:fld>
            <a:endParaRPr lang="en-US" altLang="en-US" sz="700" dirty="0" smtClean="0">
              <a:solidFill>
                <a:srgbClr val="404040"/>
              </a:solidFill>
              <a:latin typeface="Calibri" pitchFamily="34" charset="0"/>
            </a:endParaRPr>
          </a:p>
        </p:txBody>
      </p:sp>
      <p:pic>
        <p:nvPicPr>
          <p:cNvPr id="8" name="Picture 86" descr="C:\My Documents\Strategy Toolbar\MHF 2013\MHFi Logos\MHF-Circle-red-pos-rgb-30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25" y="304800"/>
            <a:ext cx="381000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7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487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5" y="210312"/>
            <a:ext cx="7070560" cy="33855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l">
              <a:defRPr lang="en-IN" sz="2200" b="1" baseline="0" dirty="0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pPr lvl="0" algn="l"/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943975" y="6659563"/>
            <a:ext cx="141288" cy="1381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55B05438-E936-4F6C-B478-3D8A1C6FD6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381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910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 - MH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H:\Strategy Toolbar\MHF 2013\MHFi Logos\Arrow-gray_large-light-c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25" y="768350"/>
            <a:ext cx="4432300" cy="352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4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46050" cy="1587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endParaRPr lang="en-US" altLang="en-US" sz="1400" smtClean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pic>
        <p:nvPicPr>
          <p:cNvPr id="10" name="Picture 2" descr="C:\My Documents\Strategy Toolbar\MHF 2013\MHFi Logos\MHF-red-pos-rgb-300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75" y="2917825"/>
            <a:ext cx="1903413" cy="52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10"/>
          <p:cNvCxnSpPr/>
          <p:nvPr/>
        </p:nvCxnSpPr>
        <p:spPr bwMode="auto">
          <a:xfrm>
            <a:off x="1258888" y="4284663"/>
            <a:ext cx="7524750" cy="0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4"/>
          <p:cNvCxnSpPr>
            <a:cxnSpLocks noChangeShapeType="1"/>
          </p:cNvCxnSpPr>
          <p:nvPr/>
        </p:nvCxnSpPr>
        <p:spPr bwMode="auto">
          <a:xfrm>
            <a:off x="360363" y="6461125"/>
            <a:ext cx="8423275" cy="0"/>
          </a:xfrm>
          <a:prstGeom prst="line">
            <a:avLst/>
          </a:prstGeom>
          <a:noFill/>
          <a:ln w="6350" algn="ctr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Picture 5" descr="H:\Strategy Toolbar\MHF 2013\MHFi Logos\Arrow-gray_large-light-c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450" y="768350"/>
            <a:ext cx="4802188" cy="352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8" name="Object 15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49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endParaRPr lang="en-US" altLang="en-US" sz="1400" smtClean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auto">
          <a:xfrm>
            <a:off x="1258888" y="4284663"/>
            <a:ext cx="7524750" cy="0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Rectangle 20" descr="casecode"/>
          <p:cNvSpPr>
            <a:spLocks noChangeArrowheads="1"/>
          </p:cNvSpPr>
          <p:nvPr userDrawn="1"/>
        </p:nvSpPr>
        <p:spPr bwMode="auto">
          <a:xfrm>
            <a:off x="1455738" y="6492875"/>
            <a:ext cx="2219325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0">
              <a:spcBef>
                <a:spcPct val="0"/>
              </a:spcBef>
              <a:defRPr/>
            </a:pPr>
            <a:r>
              <a:rPr lang="en-GB" altLang="en-US" sz="900" noProof="1" smtClean="0">
                <a:solidFill>
                  <a:srgbClr val="000000"/>
                </a:solidFill>
                <a:latin typeface="Calibri" pitchFamily="34" charset="0"/>
              </a:rPr>
              <a:t>CapIQ Human Capital Analysis for Culture Workstream Oct 2015 v13 - Short.pptx</a:t>
            </a:r>
            <a:endParaRPr lang="en-US" altLang="en-US" sz="900" noProof="1" smtClean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2" name="Straight Connector 19"/>
          <p:cNvCxnSpPr>
            <a:cxnSpLocks noChangeShapeType="1"/>
          </p:cNvCxnSpPr>
          <p:nvPr userDrawn="1"/>
        </p:nvCxnSpPr>
        <p:spPr bwMode="auto">
          <a:xfrm>
            <a:off x="360363" y="6461125"/>
            <a:ext cx="8423275" cy="0"/>
          </a:xfrm>
          <a:prstGeom prst="line">
            <a:avLst/>
          </a:prstGeom>
          <a:noFill/>
          <a:ln w="6350" algn="ctr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Rectangle 23"/>
          <p:cNvSpPr>
            <a:spLocks noChangeArrowheads="1"/>
          </p:cNvSpPr>
          <p:nvPr userDrawn="1"/>
        </p:nvSpPr>
        <p:spPr bwMode="auto">
          <a:xfrm>
            <a:off x="349250" y="6492875"/>
            <a:ext cx="1277938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0">
              <a:spcBef>
                <a:spcPct val="0"/>
              </a:spcBef>
              <a:defRPr/>
            </a:pPr>
            <a:r>
              <a:rPr lang="en-US" altLang="en-US" sz="900" noProof="1" smtClean="0">
                <a:solidFill>
                  <a:srgbClr val="E31837"/>
                </a:solidFill>
                <a:latin typeface="Calibri" pitchFamily="34" charset="0"/>
              </a:rPr>
              <a:t>McGraw Hill Financial </a:t>
            </a:r>
            <a:r>
              <a:rPr lang="en-US" altLang="en-US" sz="900" noProof="1" smtClean="0">
                <a:solidFill>
                  <a:srgbClr val="000000"/>
                </a:solidFill>
                <a:latin typeface="Calibri" pitchFamily="34" charset="0"/>
              </a:rPr>
              <a:t>|</a:t>
            </a:r>
          </a:p>
        </p:txBody>
      </p:sp>
      <p:sp>
        <p:nvSpPr>
          <p:cNvPr id="24" name="Rectangle 23"/>
          <p:cNvSpPr>
            <a:spLocks noChangeArrowheads="1"/>
          </p:cNvSpPr>
          <p:nvPr userDrawn="1"/>
        </p:nvSpPr>
        <p:spPr bwMode="gray">
          <a:xfrm>
            <a:off x="3471863" y="6592888"/>
            <a:ext cx="4856162" cy="13811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lIns="216000" tIns="0" rIns="0" bIns="0" anchor="b"/>
          <a:lstStyle/>
          <a:p>
            <a:pPr algn="l" eaLnBrk="0" hangingPunct="0">
              <a:spcBef>
                <a:spcPct val="0"/>
              </a:spcBef>
              <a:defRPr/>
            </a:pPr>
            <a:r>
              <a:rPr lang="en-US" sz="900" kern="800" spc="100" dirty="0">
                <a:solidFill>
                  <a:srgbClr val="E31837"/>
                </a:solidFill>
                <a:latin typeface="Calibri"/>
              </a:rPr>
              <a:t>CONFIDENTIAL &amp; PROPRIETARY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259542" y="4395042"/>
            <a:ext cx="7522908" cy="2834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bIns="36000" anchor="b"/>
          <a:lstStyle>
            <a:lvl1pPr marL="173038" indent="-173038">
              <a:buNone/>
              <a:defRPr lang="en-US" sz="18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1259542" y="4678505"/>
            <a:ext cx="7522908" cy="2834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36000"/>
          <a:lstStyle>
            <a:lvl1pPr marL="173038" indent="-173038">
              <a:buNone/>
              <a:defRPr lang="en-US" sz="18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377526" y="5633323"/>
            <a:ext cx="4404924" cy="2346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18000" anchor="b"/>
          <a:lstStyle>
            <a:lvl1pPr marL="173038" indent="-173038">
              <a:buNone/>
              <a:defRPr lang="en-US" sz="1200" b="1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377526" y="5867998"/>
            <a:ext cx="4404924" cy="22537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18000"/>
          <a:lstStyle>
            <a:lvl1pPr marL="173038" indent="-173038">
              <a:buNone/>
              <a:defRPr lang="en-US" sz="1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59541" y="836640"/>
            <a:ext cx="7524099" cy="115216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>
            <a:lvl1pPr>
              <a:defRPr lang="en-US" sz="2400" cap="all" baseline="0" dirty="0">
                <a:solidFill>
                  <a:schemeClr val="bg2">
                    <a:lumMod val="7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23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7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5"/>
          <p:cNvCxnSpPr>
            <a:cxnSpLocks noChangeShapeType="1"/>
          </p:cNvCxnSpPr>
          <p:nvPr/>
        </p:nvCxnSpPr>
        <p:spPr bwMode="auto">
          <a:xfrm>
            <a:off x="827088" y="685800"/>
            <a:ext cx="7956550" cy="0"/>
          </a:xfrm>
          <a:prstGeom prst="line">
            <a:avLst/>
          </a:prstGeom>
          <a:noFill/>
          <a:ln w="19050" algn="ctr">
            <a:solidFill>
              <a:srgbClr val="E3183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22"/>
          <p:cNvCxnSpPr>
            <a:cxnSpLocks noChangeShapeType="1"/>
          </p:cNvCxnSpPr>
          <p:nvPr/>
        </p:nvCxnSpPr>
        <p:spPr bwMode="auto">
          <a:xfrm>
            <a:off x="360363" y="6553200"/>
            <a:ext cx="8423275" cy="0"/>
          </a:xfrm>
          <a:prstGeom prst="line">
            <a:avLst/>
          </a:prstGeom>
          <a:noFill/>
          <a:ln w="6350" algn="ctr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TextBox 8"/>
          <p:cNvSpPr txBox="1">
            <a:spLocks noChangeArrowheads="1"/>
          </p:cNvSpPr>
          <p:nvPr/>
        </p:nvSpPr>
        <p:spPr bwMode="auto">
          <a:xfrm>
            <a:off x="8278813" y="6623050"/>
            <a:ext cx="504825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spcBef>
                <a:spcPct val="0"/>
              </a:spcBef>
              <a:defRPr/>
            </a:pPr>
            <a:fld id="{722E051D-1D4A-4CA9-A05E-F1B381003F9E}" type="slidenum">
              <a:rPr lang="en-US" altLang="en-US" sz="900" smtClean="0">
                <a:solidFill>
                  <a:srgbClr val="404040"/>
                </a:solidFill>
                <a:latin typeface="Calibri" pitchFamily="34" charset="0"/>
              </a:rPr>
              <a:pPr algn="r" eaLnBrk="0" hangingPunct="0">
                <a:spcBef>
                  <a:spcPct val="0"/>
                </a:spcBef>
                <a:defRPr/>
              </a:pPr>
              <a:t>‹#›</a:t>
            </a:fld>
            <a:endParaRPr lang="en-US" altLang="en-US" sz="700" dirty="0" smtClean="0">
              <a:solidFill>
                <a:srgbClr val="404040"/>
              </a:solidFill>
              <a:latin typeface="Calibri" pitchFamily="34" charset="0"/>
            </a:endParaRPr>
          </a:p>
        </p:txBody>
      </p:sp>
      <p:pic>
        <p:nvPicPr>
          <p:cNvPr id="8" name="Picture 86" descr="C:\My Documents\Strategy Toolbar\MHF 2013\MHFi Logos\MHF-Circle-red-pos-rgb-30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25" y="304800"/>
            <a:ext cx="381000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7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360363" y="6677025"/>
            <a:ext cx="2470150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>
              <a:spcBef>
                <a:spcPct val="0"/>
              </a:spcBef>
              <a:defRPr/>
            </a:pPr>
            <a:r>
              <a:rPr lang="en-GB" altLang="en-US" sz="900" noProof="1">
                <a:solidFill>
                  <a:srgbClr val="E31837"/>
                </a:solidFill>
                <a:latin typeface="Calibri" pitchFamily="34" charset="0"/>
              </a:rPr>
              <a:t>McGraw Hill Financial </a:t>
            </a:r>
            <a:r>
              <a:rPr lang="en-GB" altLang="en-US" sz="900" noProof="1" smtClean="0">
                <a:solidFill>
                  <a:srgbClr val="000000"/>
                </a:solidFill>
                <a:latin typeface="Calibri" pitchFamily="34" charset="0"/>
              </a:rPr>
              <a:t>| </a:t>
            </a:r>
            <a:r>
              <a:rPr lang="en-GB" altLang="en-US" sz="900" noProof="1" smtClean="0">
                <a:solidFill>
                  <a:srgbClr val="000000"/>
                </a:solidFill>
              </a:rPr>
              <a:t>HR Insights &amp; Analytics</a:t>
            </a:r>
            <a:endParaRPr lang="en-GB" altLang="en-US" sz="900" noProof="1" smtClean="0">
              <a:solidFill>
                <a:srgbClr val="000000"/>
              </a:solidFill>
              <a:latin typeface="Calibri" pitchFamily="34" charset="0"/>
            </a:endParaRPr>
          </a:p>
          <a:p>
            <a:pPr algn="l">
              <a:spcBef>
                <a:spcPct val="0"/>
              </a:spcBef>
            </a:pPr>
            <a:endParaRPr lang="en-US" altLang="en-US" sz="900" noProof="1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501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 - MH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H:\Strategy Toolbar\MHF 2013\MHFi Logos\Arrow-gray_large-light-c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25" y="768350"/>
            <a:ext cx="4432300" cy="352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2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46050" cy="1587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endParaRPr lang="en-US" altLang="en-US" sz="1400" smtClean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pic>
        <p:nvPicPr>
          <p:cNvPr id="10" name="Picture 2" descr="C:\My Documents\Strategy Toolbar\MHF 2013\MHFi Logos\MHF-red-pos-rgb-300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75" y="2917825"/>
            <a:ext cx="1903413" cy="52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10"/>
          <p:cNvCxnSpPr/>
          <p:nvPr/>
        </p:nvCxnSpPr>
        <p:spPr bwMode="auto">
          <a:xfrm>
            <a:off x="1258888" y="4284663"/>
            <a:ext cx="7524750" cy="0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4"/>
          <p:cNvCxnSpPr>
            <a:cxnSpLocks noChangeShapeType="1"/>
          </p:cNvCxnSpPr>
          <p:nvPr/>
        </p:nvCxnSpPr>
        <p:spPr bwMode="auto">
          <a:xfrm>
            <a:off x="360363" y="6461125"/>
            <a:ext cx="8423275" cy="0"/>
          </a:xfrm>
          <a:prstGeom prst="line">
            <a:avLst/>
          </a:prstGeom>
          <a:noFill/>
          <a:ln w="6350" algn="ctr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Picture 5" descr="H:\Strategy Toolbar\MHF 2013\MHFi Logos\Arrow-gray_large-light-c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450" y="768350"/>
            <a:ext cx="4802188" cy="352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8" name="Object 15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25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endParaRPr lang="en-US" altLang="en-US" sz="1400" smtClean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auto">
          <a:xfrm>
            <a:off x="1258888" y="4284663"/>
            <a:ext cx="7524750" cy="0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Rectangle 20" descr="casecode"/>
          <p:cNvSpPr>
            <a:spLocks noChangeArrowheads="1"/>
          </p:cNvSpPr>
          <p:nvPr userDrawn="1"/>
        </p:nvSpPr>
        <p:spPr bwMode="auto">
          <a:xfrm>
            <a:off x="1455738" y="6492875"/>
            <a:ext cx="2219325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0">
              <a:spcBef>
                <a:spcPct val="0"/>
              </a:spcBef>
              <a:defRPr/>
            </a:pPr>
            <a:r>
              <a:rPr lang="en-GB" altLang="en-US" sz="900" noProof="1" smtClean="0">
                <a:solidFill>
                  <a:srgbClr val="000000"/>
                </a:solidFill>
                <a:latin typeface="Calibri" pitchFamily="34" charset="0"/>
              </a:rPr>
              <a:t>JDPA Business Human Capital Report Sept Draft 2015.pptx</a:t>
            </a:r>
            <a:endParaRPr lang="en-US" altLang="en-US" sz="900" noProof="1" smtClean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2" name="Straight Connector 19"/>
          <p:cNvCxnSpPr>
            <a:cxnSpLocks noChangeShapeType="1"/>
          </p:cNvCxnSpPr>
          <p:nvPr userDrawn="1"/>
        </p:nvCxnSpPr>
        <p:spPr bwMode="auto">
          <a:xfrm>
            <a:off x="360363" y="6461125"/>
            <a:ext cx="8423275" cy="0"/>
          </a:xfrm>
          <a:prstGeom prst="line">
            <a:avLst/>
          </a:prstGeom>
          <a:noFill/>
          <a:ln w="6350" algn="ctr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Rectangle 23"/>
          <p:cNvSpPr>
            <a:spLocks noChangeArrowheads="1"/>
          </p:cNvSpPr>
          <p:nvPr userDrawn="1"/>
        </p:nvSpPr>
        <p:spPr bwMode="auto">
          <a:xfrm>
            <a:off x="349250" y="6492875"/>
            <a:ext cx="1277938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0">
              <a:spcBef>
                <a:spcPct val="0"/>
              </a:spcBef>
              <a:defRPr/>
            </a:pPr>
            <a:r>
              <a:rPr lang="en-US" altLang="en-US" sz="900" noProof="1" smtClean="0">
                <a:solidFill>
                  <a:srgbClr val="E31837"/>
                </a:solidFill>
                <a:latin typeface="Calibri" pitchFamily="34" charset="0"/>
              </a:rPr>
              <a:t>McGraw Hill Financial </a:t>
            </a:r>
            <a:r>
              <a:rPr lang="en-US" altLang="en-US" sz="900" noProof="1" smtClean="0">
                <a:solidFill>
                  <a:srgbClr val="000000"/>
                </a:solidFill>
                <a:latin typeface="Calibri" pitchFamily="34" charset="0"/>
              </a:rPr>
              <a:t>|</a:t>
            </a:r>
          </a:p>
        </p:txBody>
      </p:sp>
      <p:sp>
        <p:nvSpPr>
          <p:cNvPr id="24" name="Rectangle 23"/>
          <p:cNvSpPr>
            <a:spLocks noChangeArrowheads="1"/>
          </p:cNvSpPr>
          <p:nvPr userDrawn="1"/>
        </p:nvSpPr>
        <p:spPr bwMode="gray">
          <a:xfrm>
            <a:off x="3471863" y="6592888"/>
            <a:ext cx="4856162" cy="13811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lIns="216000" tIns="0" rIns="0" bIns="0" anchor="b"/>
          <a:lstStyle/>
          <a:p>
            <a:pPr algn="l" eaLnBrk="0" hangingPunct="0">
              <a:spcBef>
                <a:spcPct val="0"/>
              </a:spcBef>
              <a:defRPr/>
            </a:pPr>
            <a:r>
              <a:rPr lang="en-US" sz="900" kern="800" spc="100" dirty="0">
                <a:solidFill>
                  <a:srgbClr val="E31837"/>
                </a:solidFill>
                <a:latin typeface="Calibri"/>
              </a:rPr>
              <a:t>CONFIDENTIAL &amp; PROPRIETARY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259542" y="4395042"/>
            <a:ext cx="7522908" cy="2834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bIns="36000" anchor="b"/>
          <a:lstStyle>
            <a:lvl1pPr marL="173038" indent="-173038">
              <a:buNone/>
              <a:defRPr lang="en-US" sz="18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1259542" y="4678505"/>
            <a:ext cx="7522908" cy="2834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36000"/>
          <a:lstStyle>
            <a:lvl1pPr marL="173038" indent="-173038">
              <a:buNone/>
              <a:defRPr lang="en-US" sz="18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377526" y="5633323"/>
            <a:ext cx="4404924" cy="2346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18000" anchor="b"/>
          <a:lstStyle>
            <a:lvl1pPr marL="173038" indent="-173038">
              <a:buNone/>
              <a:defRPr lang="en-US" sz="1200" b="1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377526" y="5867998"/>
            <a:ext cx="4404924" cy="22537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18000"/>
          <a:lstStyle>
            <a:lvl1pPr marL="173038" indent="-173038">
              <a:buNone/>
              <a:defRPr lang="en-US" sz="1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59541" y="836640"/>
            <a:ext cx="7524099" cy="115216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>
            <a:lvl1pPr>
              <a:defRPr lang="en-US" sz="2400" cap="all" baseline="0" dirty="0">
                <a:solidFill>
                  <a:schemeClr val="bg2">
                    <a:lumMod val="7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5" name="Picture 2" descr="C:\Documents and Settings\jayaramann\Desktop\Templates\With New Logo\GR&amp;A\GR&amp;A Logos.jp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0043" y="6598920"/>
            <a:ext cx="730557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6357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5"/>
          <p:cNvCxnSpPr>
            <a:cxnSpLocks noChangeShapeType="1"/>
          </p:cNvCxnSpPr>
          <p:nvPr/>
        </p:nvCxnSpPr>
        <p:spPr bwMode="auto">
          <a:xfrm>
            <a:off x="827088" y="685800"/>
            <a:ext cx="7956550" cy="0"/>
          </a:xfrm>
          <a:prstGeom prst="line">
            <a:avLst/>
          </a:prstGeom>
          <a:noFill/>
          <a:ln w="19050" algn="ctr">
            <a:solidFill>
              <a:srgbClr val="E3183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22"/>
          <p:cNvCxnSpPr>
            <a:cxnSpLocks noChangeShapeType="1"/>
          </p:cNvCxnSpPr>
          <p:nvPr/>
        </p:nvCxnSpPr>
        <p:spPr bwMode="auto">
          <a:xfrm>
            <a:off x="360363" y="6553200"/>
            <a:ext cx="8423275" cy="0"/>
          </a:xfrm>
          <a:prstGeom prst="line">
            <a:avLst/>
          </a:prstGeom>
          <a:noFill/>
          <a:ln w="6350" algn="ctr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TextBox 8"/>
          <p:cNvSpPr txBox="1">
            <a:spLocks noChangeArrowheads="1"/>
          </p:cNvSpPr>
          <p:nvPr/>
        </p:nvSpPr>
        <p:spPr bwMode="auto">
          <a:xfrm>
            <a:off x="8278813" y="6623050"/>
            <a:ext cx="504825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spcBef>
                <a:spcPct val="0"/>
              </a:spcBef>
              <a:defRPr/>
            </a:pPr>
            <a:fld id="{722E051D-1D4A-4CA9-A05E-F1B381003F9E}" type="slidenum">
              <a:rPr lang="en-US" altLang="en-US" sz="900" smtClean="0">
                <a:solidFill>
                  <a:srgbClr val="404040"/>
                </a:solidFill>
                <a:latin typeface="Calibri" pitchFamily="34" charset="0"/>
              </a:rPr>
              <a:pPr algn="r" eaLnBrk="0" hangingPunct="0">
                <a:spcBef>
                  <a:spcPct val="0"/>
                </a:spcBef>
                <a:defRPr/>
              </a:pPr>
              <a:t>‹#›</a:t>
            </a:fld>
            <a:endParaRPr lang="en-US" altLang="en-US" sz="700" dirty="0" smtClean="0">
              <a:solidFill>
                <a:srgbClr val="404040"/>
              </a:solidFill>
              <a:latin typeface="Calibri" pitchFamily="34" charset="0"/>
            </a:endParaRPr>
          </a:p>
        </p:txBody>
      </p:sp>
      <p:pic>
        <p:nvPicPr>
          <p:cNvPr id="8" name="Picture 86" descr="C:\My Documents\Strategy Toolbar\MHF 2013\MHFi Logos\MHF-Circle-red-pos-rgb-30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25" y="304800"/>
            <a:ext cx="381000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4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0" name="Picture 2" descr="C:\Documents and Settings\jayaramann\Desktop\Templates\With New Logo\GR&amp;A\GR&amp;A Logos.jp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0043" y="6598920"/>
            <a:ext cx="730557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 txBox="1">
            <a:spLocks/>
          </p:cNvSpPr>
          <p:nvPr userDrawn="1"/>
        </p:nvSpPr>
        <p:spPr bwMode="auto">
          <a:xfrm>
            <a:off x="349644" y="6427110"/>
            <a:ext cx="2854166" cy="2549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1800"/>
              </a:spcAft>
              <a:defRPr sz="40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900" dirty="0" smtClean="0">
                <a:solidFill>
                  <a:srgbClr val="E31837"/>
                </a:solidFill>
              </a:rPr>
              <a:t>McGraw Hill Financial </a:t>
            </a:r>
            <a:r>
              <a:rPr lang="en-US" sz="900" dirty="0" smtClean="0">
                <a:solidFill>
                  <a:srgbClr val="000000"/>
                </a:solidFill>
              </a:rPr>
              <a:t>| HR Insights &amp; Analytics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gray">
          <a:xfrm>
            <a:off x="3203810" y="6471350"/>
            <a:ext cx="2743200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900" kern="800" spc="100" dirty="0">
                <a:solidFill>
                  <a:srgbClr val="E31837"/>
                </a:solidFill>
                <a:latin typeface="Arial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752203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4361009-0F2E-4982-A409-76E1796766C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424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 - MH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H:\Strategy Toolbar\MHF 2013\MHFi Logos\Arrow-gray_large-light-c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25" y="768350"/>
            <a:ext cx="4432300" cy="352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0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46050" cy="1587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endParaRPr lang="en-US" altLang="en-US" sz="1400" smtClean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pic>
        <p:nvPicPr>
          <p:cNvPr id="10" name="Picture 2" descr="C:\My Documents\Strategy Toolbar\MHF 2013\MHFi Logos\MHF-red-pos-rgb-300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75" y="2917825"/>
            <a:ext cx="1903413" cy="52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10"/>
          <p:cNvCxnSpPr/>
          <p:nvPr/>
        </p:nvCxnSpPr>
        <p:spPr bwMode="auto">
          <a:xfrm>
            <a:off x="1258888" y="4284663"/>
            <a:ext cx="7524750" cy="0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4"/>
          <p:cNvCxnSpPr>
            <a:cxnSpLocks noChangeShapeType="1"/>
          </p:cNvCxnSpPr>
          <p:nvPr/>
        </p:nvCxnSpPr>
        <p:spPr bwMode="auto">
          <a:xfrm>
            <a:off x="360363" y="6461125"/>
            <a:ext cx="8423275" cy="0"/>
          </a:xfrm>
          <a:prstGeom prst="line">
            <a:avLst/>
          </a:prstGeom>
          <a:noFill/>
          <a:ln w="6350" algn="ctr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Picture 5" descr="H:\Strategy Toolbar\MHF 2013\MHFi Logos\Arrow-gray_large-light-c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450" y="768350"/>
            <a:ext cx="4802188" cy="352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8" name="Object 15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05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endParaRPr lang="en-US" altLang="en-US" sz="1400" smtClean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auto">
          <a:xfrm>
            <a:off x="1258888" y="4284663"/>
            <a:ext cx="7524750" cy="0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Rectangle 20" descr="casecode"/>
          <p:cNvSpPr>
            <a:spLocks noChangeArrowheads="1"/>
          </p:cNvSpPr>
          <p:nvPr userDrawn="1"/>
        </p:nvSpPr>
        <p:spPr bwMode="auto">
          <a:xfrm>
            <a:off x="1455738" y="6492875"/>
            <a:ext cx="2219325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0">
              <a:spcBef>
                <a:spcPct val="0"/>
              </a:spcBef>
              <a:defRPr/>
            </a:pPr>
            <a:r>
              <a:rPr lang="en-GB" altLang="en-US" sz="900" noProof="1" smtClean="0">
                <a:solidFill>
                  <a:srgbClr val="000000"/>
                </a:solidFill>
                <a:latin typeface="Calibri" pitchFamily="34" charset="0"/>
              </a:rPr>
              <a:t>JDPA Business Human Capital Report Sept Draft 2015.pptx</a:t>
            </a:r>
            <a:endParaRPr lang="en-US" altLang="en-US" sz="900" noProof="1" smtClean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22" name="Straight Connector 19"/>
          <p:cNvCxnSpPr>
            <a:cxnSpLocks noChangeShapeType="1"/>
          </p:cNvCxnSpPr>
          <p:nvPr userDrawn="1"/>
        </p:nvCxnSpPr>
        <p:spPr bwMode="auto">
          <a:xfrm>
            <a:off x="360363" y="6461125"/>
            <a:ext cx="8423275" cy="0"/>
          </a:xfrm>
          <a:prstGeom prst="line">
            <a:avLst/>
          </a:prstGeom>
          <a:noFill/>
          <a:ln w="6350" algn="ctr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Rectangle 23"/>
          <p:cNvSpPr>
            <a:spLocks noChangeArrowheads="1"/>
          </p:cNvSpPr>
          <p:nvPr userDrawn="1"/>
        </p:nvSpPr>
        <p:spPr bwMode="auto">
          <a:xfrm>
            <a:off x="349250" y="6492875"/>
            <a:ext cx="1277938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0">
              <a:spcBef>
                <a:spcPct val="0"/>
              </a:spcBef>
              <a:defRPr/>
            </a:pPr>
            <a:r>
              <a:rPr lang="en-US" altLang="en-US" sz="900" noProof="1" smtClean="0">
                <a:solidFill>
                  <a:srgbClr val="E31837"/>
                </a:solidFill>
                <a:latin typeface="Calibri" pitchFamily="34" charset="0"/>
              </a:rPr>
              <a:t>McGraw Hill Financial </a:t>
            </a:r>
            <a:r>
              <a:rPr lang="en-US" altLang="en-US" sz="900" noProof="1" smtClean="0">
                <a:solidFill>
                  <a:srgbClr val="000000"/>
                </a:solidFill>
                <a:latin typeface="Calibri" pitchFamily="34" charset="0"/>
              </a:rPr>
              <a:t>|</a:t>
            </a:r>
          </a:p>
        </p:txBody>
      </p:sp>
      <p:sp>
        <p:nvSpPr>
          <p:cNvPr id="24" name="Rectangle 23"/>
          <p:cNvSpPr>
            <a:spLocks noChangeArrowheads="1"/>
          </p:cNvSpPr>
          <p:nvPr userDrawn="1"/>
        </p:nvSpPr>
        <p:spPr bwMode="gray">
          <a:xfrm>
            <a:off x="3471863" y="6592888"/>
            <a:ext cx="4856162" cy="13811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lIns="216000" tIns="0" rIns="0" bIns="0" anchor="b"/>
          <a:lstStyle/>
          <a:p>
            <a:pPr algn="l" eaLnBrk="0" hangingPunct="0">
              <a:spcBef>
                <a:spcPct val="0"/>
              </a:spcBef>
              <a:defRPr/>
            </a:pPr>
            <a:r>
              <a:rPr lang="en-US" sz="900" kern="800" spc="100" dirty="0">
                <a:solidFill>
                  <a:srgbClr val="E31837"/>
                </a:solidFill>
                <a:latin typeface="Calibri"/>
              </a:rPr>
              <a:t>CONFIDENTIAL &amp; PROPRIETARY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259542" y="4395042"/>
            <a:ext cx="7522908" cy="2834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bIns="36000" anchor="b"/>
          <a:lstStyle>
            <a:lvl1pPr marL="173038" indent="-173038">
              <a:buNone/>
              <a:defRPr lang="en-US" sz="18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1259542" y="4678505"/>
            <a:ext cx="7522908" cy="2834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tIns="36000"/>
          <a:lstStyle>
            <a:lvl1pPr marL="173038" indent="-173038">
              <a:buNone/>
              <a:defRPr lang="en-US" sz="18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377526" y="5633323"/>
            <a:ext cx="4404924" cy="2346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18000" anchor="b"/>
          <a:lstStyle>
            <a:lvl1pPr marL="173038" indent="-173038">
              <a:buNone/>
              <a:defRPr lang="en-US" sz="1200" b="1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377526" y="5867998"/>
            <a:ext cx="4404924" cy="22537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18000"/>
          <a:lstStyle>
            <a:lvl1pPr marL="173038" indent="-173038">
              <a:buNone/>
              <a:defRPr lang="en-US" sz="1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59541" y="836640"/>
            <a:ext cx="7524099" cy="115216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>
            <a:lvl1pPr>
              <a:defRPr lang="en-US" sz="2400" cap="all" baseline="0" dirty="0">
                <a:solidFill>
                  <a:schemeClr val="bg2">
                    <a:lumMod val="75000"/>
                  </a:schemeClr>
                </a:solidFill>
                <a:latin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080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5"/>
          <p:cNvCxnSpPr>
            <a:cxnSpLocks noChangeShapeType="1"/>
          </p:cNvCxnSpPr>
          <p:nvPr/>
        </p:nvCxnSpPr>
        <p:spPr bwMode="auto">
          <a:xfrm>
            <a:off x="827088" y="685800"/>
            <a:ext cx="7956550" cy="0"/>
          </a:xfrm>
          <a:prstGeom prst="line">
            <a:avLst/>
          </a:prstGeom>
          <a:noFill/>
          <a:ln w="19050" algn="ctr">
            <a:solidFill>
              <a:srgbClr val="E3183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22"/>
          <p:cNvCxnSpPr>
            <a:cxnSpLocks noChangeShapeType="1"/>
          </p:cNvCxnSpPr>
          <p:nvPr/>
        </p:nvCxnSpPr>
        <p:spPr bwMode="auto">
          <a:xfrm>
            <a:off x="360363" y="6553200"/>
            <a:ext cx="8423275" cy="0"/>
          </a:xfrm>
          <a:prstGeom prst="line">
            <a:avLst/>
          </a:prstGeom>
          <a:noFill/>
          <a:ln w="6350" algn="ctr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TextBox 8"/>
          <p:cNvSpPr txBox="1">
            <a:spLocks noChangeArrowheads="1"/>
          </p:cNvSpPr>
          <p:nvPr/>
        </p:nvSpPr>
        <p:spPr bwMode="auto">
          <a:xfrm>
            <a:off x="8278813" y="6623050"/>
            <a:ext cx="504825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spcBef>
                <a:spcPct val="0"/>
              </a:spcBef>
              <a:defRPr/>
            </a:pPr>
            <a:fld id="{722E051D-1D4A-4CA9-A05E-F1B381003F9E}" type="slidenum">
              <a:rPr lang="en-US" altLang="en-US" sz="900" smtClean="0">
                <a:solidFill>
                  <a:srgbClr val="404040"/>
                </a:solidFill>
                <a:latin typeface="Calibri" pitchFamily="34" charset="0"/>
              </a:rPr>
              <a:pPr algn="r" eaLnBrk="0" hangingPunct="0">
                <a:spcBef>
                  <a:spcPct val="0"/>
                </a:spcBef>
                <a:defRPr/>
              </a:pPr>
              <a:t>‹#›</a:t>
            </a:fld>
            <a:endParaRPr lang="en-US" altLang="en-US" sz="700" dirty="0" smtClean="0">
              <a:solidFill>
                <a:srgbClr val="404040"/>
              </a:solidFill>
              <a:latin typeface="Calibri" pitchFamily="34" charset="0"/>
            </a:endParaRPr>
          </a:p>
        </p:txBody>
      </p:sp>
      <p:pic>
        <p:nvPicPr>
          <p:cNvPr id="8" name="Picture 86" descr="C:\My Documents\Strategy Toolbar\MHF 2013\MHFi Logos\MHF-Circle-red-pos-rgb-30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25" y="304800"/>
            <a:ext cx="381000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2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8391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5" y="210312"/>
            <a:ext cx="7070560" cy="33855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l">
              <a:defRPr lang="en-IN" sz="2200" b="1" baseline="0" dirty="0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pPr lvl="0" algn="l"/>
            <a:r>
              <a:rPr lang="en-US" smtClean="0"/>
              <a:t>Click to edit Master title style</a:t>
            </a:r>
            <a:endParaRPr lang="en-IN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943975" y="6659563"/>
            <a:ext cx="141288" cy="1381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55B05438-E936-4F6C-B478-3D8A1C6FD6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485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305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6722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1"/>
            <a:ext cx="158751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spcBef>
                <a:spcPts val="1800"/>
              </a:spcBef>
              <a:buNone/>
              <a:defRPr sz="3200" baseline="0">
                <a:solidFill>
                  <a:srgbClr val="999999"/>
                </a:solidFill>
              </a:defRPr>
            </a:lvl1pPr>
            <a:lvl2pPr marL="174625" indent="0">
              <a:buNone/>
              <a:defRPr/>
            </a:lvl2pPr>
            <a:lvl3pPr marL="360363" indent="0">
              <a:buNone/>
              <a:defRPr/>
            </a:lvl3pPr>
            <a:lvl4pPr marL="539750" indent="0">
              <a:buNone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GB" dirty="0" smtClean="0"/>
              <a:t>Add chapter headings</a:t>
            </a:r>
          </a:p>
          <a:p>
            <a:pPr lvl="0"/>
            <a:r>
              <a:rPr lang="en-GB" dirty="0" smtClean="0"/>
              <a:t>Highlight current chapter in black or red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594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7481" y="1188721"/>
            <a:ext cx="3812340" cy="5192690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dirty="0" smtClean="0"/>
            </a:lvl1pPr>
            <a:lvl2pPr>
              <a:defRPr lang="en-US" sz="2400" dirty="0" smtClean="0"/>
            </a:lvl2pPr>
            <a:lvl3pPr>
              <a:defRPr lang="en-US" sz="2400" dirty="0" smtClean="0"/>
            </a:lvl3pPr>
            <a:lvl4pPr>
              <a:defRPr lang="en-US" sz="2400" dirty="0" smtClean="0"/>
            </a:lvl4pPr>
            <a:lvl5pPr>
              <a:defRPr lang="en-US" sz="2400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1301" y="1188721"/>
            <a:ext cx="3812343" cy="5192690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427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7481" y="1188720"/>
            <a:ext cx="3812340" cy="728070"/>
          </a:xfrm>
        </p:spPr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7481" y="1916790"/>
            <a:ext cx="3812340" cy="4320600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71301" y="1188720"/>
            <a:ext cx="3812343" cy="728070"/>
          </a:xfrm>
        </p:spPr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71301" y="1916790"/>
            <a:ext cx="3812343" cy="4320600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311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27482" y="1628750"/>
            <a:ext cx="7956159" cy="4752660"/>
          </a:xfrm>
        </p:spPr>
        <p:txBody>
          <a:bodyPr/>
          <a:lstStyle>
            <a:lvl1pPr marL="0" indent="0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7089" y="1188720"/>
            <a:ext cx="7956551" cy="440030"/>
          </a:xfrm>
        </p:spPr>
        <p:txBody>
          <a:bodyPr anchor="b"/>
          <a:lstStyle>
            <a:lvl1pPr marL="0" indent="0" algn="ctr">
              <a:buNone/>
              <a:defRPr sz="2800" b="1"/>
            </a:lvl1pPr>
          </a:lstStyle>
          <a:p>
            <a:pPr lvl="0"/>
            <a:r>
              <a:rPr lang="en-US" dirty="0" smtClean="0"/>
              <a:t>Ca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7319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r-MH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My Documents\Strategy Toolbar\MHF 2013\MHFi Logos\back-slide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5" t="6367" r="11794" b="6367"/>
          <a:stretch/>
        </p:blipFill>
        <p:spPr bwMode="auto">
          <a:xfrm>
            <a:off x="3174" y="-1"/>
            <a:ext cx="9140825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My Documents\Strategy Toolbar\MHF 2013\MHFi Logos\MHFEI-red-pos-rgb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66" y="2218095"/>
            <a:ext cx="7320472" cy="2421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3101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9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ags" Target="../tags/tag6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3.xml"/><Relationship Id="rId9" Type="http://schemas.openxmlformats.org/officeDocument/2006/relationships/image" Target="../media/image1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heme" Target="../theme/theme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oleObject" Target="../embeddings/oleObject8.bin"/><Relationship Id="rId5" Type="http://schemas.openxmlformats.org/officeDocument/2006/relationships/tags" Target="../tags/tag13.xml"/><Relationship Id="rId4" Type="http://schemas.openxmlformats.org/officeDocument/2006/relationships/vmlDrawing" Target="../drawings/vmlDrawing6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ags" Target="../tags/tag20.xml"/><Relationship Id="rId5" Type="http://schemas.openxmlformats.org/officeDocument/2006/relationships/vmlDrawing" Target="../drawings/vmlDrawing9.vml"/><Relationship Id="rId10" Type="http://schemas.openxmlformats.org/officeDocument/2006/relationships/image" Target="../media/image12.jpeg"/><Relationship Id="rId4" Type="http://schemas.openxmlformats.org/officeDocument/2006/relationships/theme" Target="../theme/theme5.xml"/><Relationship Id="rId9" Type="http://schemas.openxmlformats.org/officeDocument/2006/relationships/image" Target="../media/image1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7.xml"/><Relationship Id="rId7" Type="http://schemas.openxmlformats.org/officeDocument/2006/relationships/oleObject" Target="../embeddings/oleObject18.bin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ags" Target="../tags/tag27.xml"/><Relationship Id="rId5" Type="http://schemas.openxmlformats.org/officeDocument/2006/relationships/vmlDrawing" Target="../drawings/vmlDrawing12.vml"/><Relationship Id="rId4" Type="http://schemas.openxmlformats.org/officeDocument/2006/relationships/theme" Target="../theme/theme6.xml"/><Relationship Id="rId9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9">
            <a:duotone>
              <a:schemeClr val="bg2">
                <a:shade val="3000"/>
                <a:satMod val="110000"/>
              </a:schemeClr>
              <a:schemeClr val="bg2">
                <a:tint val="60000"/>
                <a:satMod val="425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artisticTexturizer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47065820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08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1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+mn-cs"/>
              <a:sym typeface="Calibri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27482" y="277635"/>
            <a:ext cx="7956159" cy="591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eaLnBrk="1" hangingPunct="1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27482" y="1188721"/>
            <a:ext cx="7956159" cy="5192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827482" y="932618"/>
            <a:ext cx="7956159" cy="0"/>
          </a:xfrm>
          <a:prstGeom prst="line">
            <a:avLst/>
          </a:prstGeom>
          <a:solidFill>
            <a:schemeClr val="bg2"/>
          </a:solidFill>
          <a:ln w="19050" cap="flat" cmpd="sng" algn="ctr">
            <a:solidFill>
              <a:srgbClr val="E3183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/>
        </p:nvCxnSpPr>
        <p:spPr bwMode="auto">
          <a:xfrm>
            <a:off x="360364" y="6461887"/>
            <a:ext cx="8423275" cy="0"/>
          </a:xfrm>
          <a:prstGeom prst="line">
            <a:avLst/>
          </a:prstGeom>
          <a:solidFill>
            <a:schemeClr val="bg2"/>
          </a:solidFill>
          <a:ln w="6350" cap="flat" cmpd="sng" algn="ctr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TextBox 8"/>
          <p:cNvSpPr txBox="1"/>
          <p:nvPr/>
        </p:nvSpPr>
        <p:spPr>
          <a:xfrm>
            <a:off x="8279459" y="6623390"/>
            <a:ext cx="504181" cy="10772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fld id="{A2B1FF50-4861-4B5E-9542-DC2AA2A7D8C8}" type="slidenum">
              <a:rPr 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pPr algn="r"/>
              <a:t>‹#›</a:t>
            </a:fld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pic>
        <p:nvPicPr>
          <p:cNvPr id="97366" name="Picture 86" descr="C:\My Documents\Strategy Toolbar\MHF 2013\MHFi Logos\MHF-Circle-red-pos-rgb-30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570450"/>
            <a:ext cx="410210" cy="410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349644" y="6492240"/>
            <a:ext cx="1277915" cy="238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algn="l">
              <a:spcBef>
                <a:spcPct val="0"/>
              </a:spcBef>
            </a:pPr>
            <a:r>
              <a:rPr lang="en-US" sz="1200" noProof="1" smtClean="0">
                <a:solidFill>
                  <a:srgbClr val="E31837"/>
                </a:solidFill>
                <a:latin typeface="+mn-lt"/>
              </a:rPr>
              <a:t>McGraw Hill Financial </a:t>
            </a:r>
            <a:r>
              <a:rPr lang="en-US" sz="1200" noProof="1" smtClean="0">
                <a:solidFill>
                  <a:srgbClr val="000000"/>
                </a:solidFill>
                <a:latin typeface="+mn-lt"/>
              </a:rPr>
              <a:t>|</a:t>
            </a:r>
            <a:r>
              <a:rPr lang="en-US" sz="1200" baseline="0" noProof="1" smtClean="0">
                <a:solidFill>
                  <a:srgbClr val="000000"/>
                </a:solidFill>
                <a:latin typeface="+mn-lt"/>
              </a:rPr>
              <a:t> Presentation</a:t>
            </a:r>
            <a:endParaRPr lang="en-US" sz="1200" noProof="1" smtClean="0">
              <a:solidFill>
                <a:srgbClr val="000000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54" r:id="rId3"/>
    <p:sldLayoutId id="2147483655" r:id="rId4"/>
    <p:sldLayoutId id="2147483661" r:id="rId5"/>
    <p:sldLayoutId id="2147483652" r:id="rId6"/>
    <p:sldLayoutId id="2147483653" r:id="rId7"/>
    <p:sldLayoutId id="2147483657" r:id="rId8"/>
    <p:sldLayoutId id="2147483662" r:id="rId9"/>
    <p:sldLayoutId id="2147483663" r:id="rId10"/>
    <p:sldLayoutId id="2147483676" r:id="rId11"/>
    <p:sldLayoutId id="2147483677" r:id="rId12"/>
    <p:sldLayoutId id="2147483984" r:id="rId13"/>
    <p:sldLayoutId id="2147483985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US" sz="3200" b="0" i="0" cap="none" smtClean="0">
          <a:solidFill>
            <a:srgbClr val="636466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9pPr>
    </p:titleStyle>
    <p:bodyStyle>
      <a:lvl1pPr marL="361950" indent="-361950" algn="l" rtl="0" eaLnBrk="1" fontAlgn="base" hangingPunct="1">
        <a:spcBef>
          <a:spcPct val="20000"/>
        </a:spcBef>
        <a:spcAft>
          <a:spcPct val="0"/>
        </a:spcAft>
        <a:buClr>
          <a:srgbClr val="E31837"/>
        </a:buClr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23900" indent="-361950" algn="l" rtl="0" eaLnBrk="1" fontAlgn="base" hangingPunct="1">
        <a:spcBef>
          <a:spcPct val="20000"/>
        </a:spcBef>
        <a:spcAft>
          <a:spcPct val="0"/>
        </a:spcAft>
        <a:buClr>
          <a:srgbClr val="000000"/>
        </a:buClr>
        <a:buFont typeface="Arial"/>
        <a:buChar char="–"/>
        <a:defRPr sz="2800">
          <a:solidFill>
            <a:schemeClr val="tx1"/>
          </a:solidFill>
          <a:latin typeface="+mn-lt"/>
        </a:defRPr>
      </a:lvl2pPr>
      <a:lvl3pPr marL="1085850" indent="-361950" algn="l" rtl="0" eaLnBrk="1" fontAlgn="base" hangingPunct="1">
        <a:spcBef>
          <a:spcPct val="20000"/>
        </a:spcBef>
        <a:spcAft>
          <a:spcPct val="0"/>
        </a:spcAft>
        <a:buClr>
          <a:srgbClr val="000000"/>
        </a:buClr>
        <a:buFont typeface="Arial"/>
        <a:buChar char="–"/>
        <a:defRPr sz="2800">
          <a:solidFill>
            <a:schemeClr val="tx1"/>
          </a:solidFill>
          <a:latin typeface="+mn-lt"/>
        </a:defRPr>
      </a:lvl3pPr>
      <a:lvl4pPr marL="1447800" indent="-361950" algn="l" rtl="0" eaLnBrk="1" fontAlgn="base" hangingPunct="1">
        <a:spcBef>
          <a:spcPct val="20000"/>
        </a:spcBef>
        <a:spcAft>
          <a:spcPct val="0"/>
        </a:spcAft>
        <a:buClr>
          <a:srgbClr val="000000"/>
        </a:buClr>
        <a:buFont typeface="Arial"/>
        <a:buChar char="–"/>
        <a:defRPr sz="2800">
          <a:solidFill>
            <a:schemeClr val="tx1"/>
          </a:solidFill>
          <a:latin typeface="+mn-lt"/>
        </a:defRPr>
      </a:lvl4pPr>
      <a:lvl5pPr marL="1809750" indent="-361950" algn="l" rtl="0" eaLnBrk="1" fontAlgn="base" hangingPunct="1">
        <a:spcBef>
          <a:spcPct val="20000"/>
        </a:spcBef>
        <a:spcAft>
          <a:spcPct val="0"/>
        </a:spcAft>
        <a:buClr>
          <a:srgbClr val="000000"/>
        </a:buClr>
        <a:buFont typeface="Arial"/>
        <a:buChar char="–"/>
        <a:defRPr sz="2800">
          <a:solidFill>
            <a:schemeClr val="tx1"/>
          </a:solidFill>
          <a:latin typeface="+mn-lt"/>
        </a:defRPr>
      </a:lvl5pPr>
      <a:lvl6pPr marL="13541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18113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2685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27257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361009-0F2E-4982-A409-76E1796766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959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  <p:sldLayoutId id="2147483995" r:id="rId9"/>
    <p:sldLayoutId id="2147483996" r:id="rId10"/>
    <p:sldLayoutId id="2147483997" r:id="rId11"/>
    <p:sldLayoutId id="2147483998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65960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00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27088" y="19050"/>
            <a:ext cx="7956550" cy="590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27088" y="1189038"/>
            <a:ext cx="7956550" cy="5192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cxnSp>
        <p:nvCxnSpPr>
          <p:cNvPr id="2053" name="Straight Connector 15"/>
          <p:cNvCxnSpPr>
            <a:cxnSpLocks noChangeShapeType="1"/>
          </p:cNvCxnSpPr>
          <p:nvPr/>
        </p:nvCxnSpPr>
        <p:spPr bwMode="auto">
          <a:xfrm>
            <a:off x="827088" y="685800"/>
            <a:ext cx="7956550" cy="0"/>
          </a:xfrm>
          <a:prstGeom prst="line">
            <a:avLst/>
          </a:prstGeom>
          <a:noFill/>
          <a:ln w="19050" algn="ctr">
            <a:solidFill>
              <a:srgbClr val="E3183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54" name="Straight Connector 22"/>
          <p:cNvCxnSpPr>
            <a:cxnSpLocks noChangeShapeType="1"/>
          </p:cNvCxnSpPr>
          <p:nvPr/>
        </p:nvCxnSpPr>
        <p:spPr bwMode="auto">
          <a:xfrm>
            <a:off x="360363" y="6553200"/>
            <a:ext cx="8423275" cy="0"/>
          </a:xfrm>
          <a:prstGeom prst="line">
            <a:avLst/>
          </a:prstGeom>
          <a:noFill/>
          <a:ln w="6350" algn="ctr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31" name="TextBox 8"/>
          <p:cNvSpPr txBox="1">
            <a:spLocks noChangeArrowheads="1"/>
          </p:cNvSpPr>
          <p:nvPr/>
        </p:nvSpPr>
        <p:spPr bwMode="auto">
          <a:xfrm>
            <a:off x="8278813" y="6623050"/>
            <a:ext cx="504825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spcBef>
                <a:spcPct val="0"/>
              </a:spcBef>
              <a:defRPr/>
            </a:pPr>
            <a:fld id="{A6E269C4-1519-47F9-B12C-3BCCC8184F87}" type="slidenum">
              <a:rPr lang="en-US" altLang="en-US" sz="900" smtClean="0">
                <a:solidFill>
                  <a:srgbClr val="404040"/>
                </a:solidFill>
                <a:latin typeface="Calibri" pitchFamily="34" charset="0"/>
              </a:rPr>
              <a:pPr algn="r" eaLnBrk="0" hangingPunct="0">
                <a:spcBef>
                  <a:spcPct val="0"/>
                </a:spcBef>
                <a:defRPr/>
              </a:pPr>
              <a:t>‹#›</a:t>
            </a:fld>
            <a:endParaRPr lang="en-US" altLang="en-US" sz="700" smtClean="0">
              <a:solidFill>
                <a:srgbClr val="404040"/>
              </a:solidFill>
              <a:latin typeface="Calibri" pitchFamily="34" charset="0"/>
            </a:endParaRPr>
          </a:p>
        </p:txBody>
      </p:sp>
      <p:pic>
        <p:nvPicPr>
          <p:cNvPr id="2056" name="Picture 86" descr="C:\My Documents\Strategy Toolbar\MHF 2013\MHFi Logos\MHF-Circle-red-pos-rgb-300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25" y="304800"/>
            <a:ext cx="381000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2"/>
          <p:cNvSpPr>
            <a:spLocks noGrp="1"/>
          </p:cNvSpPr>
          <p:nvPr>
            <p:ph type="dt" sz="half" idx="2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 dirty="0">
                <a:latin typeface="Arial" charset="0"/>
              </a:defRPr>
            </a:lvl1pPr>
          </a:lstStyle>
          <a:p>
            <a:pPr algn="l" eaLnBrk="0" hangingPunct="0">
              <a:spcBef>
                <a:spcPct val="0"/>
              </a:spcBef>
              <a:defRPr/>
            </a:pPr>
            <a:endParaRPr lang="en-US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281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  <p:sldLayoutId id="2147484007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>
          <a:solidFill>
            <a:srgbClr val="7F7F7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rgbClr val="7F7F7F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rgbClr val="7F7F7F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rgbClr val="7F7F7F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rgbClr val="7F7F7F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9pPr>
    </p:titleStyle>
    <p:bodyStyle>
      <a:lvl1pPr marL="173038" indent="-173038" algn="l" rtl="0" eaLnBrk="0" fontAlgn="base" hangingPunct="0">
        <a:spcBef>
          <a:spcPts val="300"/>
        </a:spcBef>
        <a:spcAft>
          <a:spcPct val="0"/>
        </a:spcAft>
        <a:buClr>
          <a:srgbClr val="E31837"/>
        </a:buClr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84150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538163" indent="-177800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3pPr>
      <a:lvl4pPr marL="717550" indent="-177800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896938" indent="-177800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5pPr>
      <a:lvl6pPr marL="13541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18113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2685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27257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01552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3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27088" y="19050"/>
            <a:ext cx="7956550" cy="590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27088" y="1189038"/>
            <a:ext cx="7956550" cy="5192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cxnSp>
        <p:nvCxnSpPr>
          <p:cNvPr id="2053" name="Straight Connector 15"/>
          <p:cNvCxnSpPr>
            <a:cxnSpLocks noChangeShapeType="1"/>
          </p:cNvCxnSpPr>
          <p:nvPr/>
        </p:nvCxnSpPr>
        <p:spPr bwMode="auto">
          <a:xfrm>
            <a:off x="827088" y="685800"/>
            <a:ext cx="7956550" cy="0"/>
          </a:xfrm>
          <a:prstGeom prst="line">
            <a:avLst/>
          </a:prstGeom>
          <a:noFill/>
          <a:ln w="19050" algn="ctr">
            <a:solidFill>
              <a:srgbClr val="E3183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54" name="Straight Connector 22"/>
          <p:cNvCxnSpPr>
            <a:cxnSpLocks noChangeShapeType="1"/>
          </p:cNvCxnSpPr>
          <p:nvPr/>
        </p:nvCxnSpPr>
        <p:spPr bwMode="auto">
          <a:xfrm>
            <a:off x="360363" y="6553200"/>
            <a:ext cx="8423275" cy="0"/>
          </a:xfrm>
          <a:prstGeom prst="line">
            <a:avLst/>
          </a:prstGeom>
          <a:noFill/>
          <a:ln w="6350" algn="ctr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31" name="TextBox 8"/>
          <p:cNvSpPr txBox="1">
            <a:spLocks noChangeArrowheads="1"/>
          </p:cNvSpPr>
          <p:nvPr/>
        </p:nvSpPr>
        <p:spPr bwMode="auto">
          <a:xfrm>
            <a:off x="8278813" y="6623050"/>
            <a:ext cx="504825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spcBef>
                <a:spcPct val="0"/>
              </a:spcBef>
              <a:defRPr/>
            </a:pPr>
            <a:fld id="{A6E269C4-1519-47F9-B12C-3BCCC8184F87}" type="slidenum">
              <a:rPr lang="en-US" altLang="en-US" sz="900" smtClean="0">
                <a:solidFill>
                  <a:srgbClr val="404040"/>
                </a:solidFill>
                <a:latin typeface="Calibri" pitchFamily="34" charset="0"/>
              </a:rPr>
              <a:pPr algn="r" eaLnBrk="0" hangingPunct="0">
                <a:spcBef>
                  <a:spcPct val="0"/>
                </a:spcBef>
                <a:defRPr/>
              </a:pPr>
              <a:t>‹#›</a:t>
            </a:fld>
            <a:endParaRPr lang="en-US" altLang="en-US" sz="700" smtClean="0">
              <a:solidFill>
                <a:srgbClr val="404040"/>
              </a:solidFill>
              <a:latin typeface="Calibri" pitchFamily="34" charset="0"/>
            </a:endParaRPr>
          </a:p>
        </p:txBody>
      </p:sp>
      <p:pic>
        <p:nvPicPr>
          <p:cNvPr id="2056" name="Picture 86" descr="C:\My Documents\Strategy Toolbar\MHF 2013\MHFi Logos\MHF-Circle-red-pos-rgb-300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25" y="304800"/>
            <a:ext cx="381000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2"/>
          <p:cNvSpPr>
            <a:spLocks noGrp="1"/>
          </p:cNvSpPr>
          <p:nvPr>
            <p:ph type="dt" sz="half" idx="2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 dirty="0">
                <a:latin typeface="Arial" charset="0"/>
              </a:defRPr>
            </a:lvl1pPr>
          </a:lstStyle>
          <a:p>
            <a:pPr algn="l" eaLnBrk="0" hangingPunct="0">
              <a:spcBef>
                <a:spcPct val="0"/>
              </a:spcBef>
              <a:defRPr/>
            </a:pPr>
            <a:endParaRPr lang="en-US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008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>
          <a:solidFill>
            <a:srgbClr val="7F7F7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rgbClr val="7F7F7F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rgbClr val="7F7F7F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rgbClr val="7F7F7F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rgbClr val="7F7F7F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9pPr>
    </p:titleStyle>
    <p:bodyStyle>
      <a:lvl1pPr marL="173038" indent="-173038" algn="l" rtl="0" eaLnBrk="0" fontAlgn="base" hangingPunct="0">
        <a:spcBef>
          <a:spcPts val="300"/>
        </a:spcBef>
        <a:spcAft>
          <a:spcPct val="0"/>
        </a:spcAft>
        <a:buClr>
          <a:srgbClr val="E31837"/>
        </a:buClr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84150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538163" indent="-177800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3pPr>
      <a:lvl4pPr marL="717550" indent="-177800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896938" indent="-177800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5pPr>
      <a:lvl6pPr marL="13541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18113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2685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27257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79338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6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27088" y="19050"/>
            <a:ext cx="7956550" cy="590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27088" y="1189038"/>
            <a:ext cx="7956550" cy="5192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cxnSp>
        <p:nvCxnSpPr>
          <p:cNvPr id="2053" name="Straight Connector 15"/>
          <p:cNvCxnSpPr>
            <a:cxnSpLocks noChangeShapeType="1"/>
          </p:cNvCxnSpPr>
          <p:nvPr/>
        </p:nvCxnSpPr>
        <p:spPr bwMode="auto">
          <a:xfrm>
            <a:off x="827088" y="685800"/>
            <a:ext cx="7956550" cy="0"/>
          </a:xfrm>
          <a:prstGeom prst="line">
            <a:avLst/>
          </a:prstGeom>
          <a:noFill/>
          <a:ln w="19050" algn="ctr">
            <a:solidFill>
              <a:srgbClr val="E3183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54" name="Straight Connector 22"/>
          <p:cNvCxnSpPr>
            <a:cxnSpLocks noChangeShapeType="1"/>
          </p:cNvCxnSpPr>
          <p:nvPr/>
        </p:nvCxnSpPr>
        <p:spPr bwMode="auto">
          <a:xfrm>
            <a:off x="360363" y="6553200"/>
            <a:ext cx="8423275" cy="0"/>
          </a:xfrm>
          <a:prstGeom prst="line">
            <a:avLst/>
          </a:prstGeom>
          <a:noFill/>
          <a:ln w="6350" algn="ctr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31" name="TextBox 8"/>
          <p:cNvSpPr txBox="1">
            <a:spLocks noChangeArrowheads="1"/>
          </p:cNvSpPr>
          <p:nvPr/>
        </p:nvSpPr>
        <p:spPr bwMode="auto">
          <a:xfrm>
            <a:off x="8278813" y="6623050"/>
            <a:ext cx="504825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spcBef>
                <a:spcPct val="0"/>
              </a:spcBef>
              <a:defRPr/>
            </a:pPr>
            <a:fld id="{A6E269C4-1519-47F9-B12C-3BCCC8184F87}" type="slidenum">
              <a:rPr lang="en-US" altLang="en-US" sz="900" smtClean="0">
                <a:solidFill>
                  <a:srgbClr val="404040"/>
                </a:solidFill>
                <a:latin typeface="Calibri" pitchFamily="34" charset="0"/>
              </a:rPr>
              <a:pPr algn="r" eaLnBrk="0" hangingPunct="0">
                <a:spcBef>
                  <a:spcPct val="0"/>
                </a:spcBef>
                <a:defRPr/>
              </a:pPr>
              <a:t>‹#›</a:t>
            </a:fld>
            <a:endParaRPr lang="en-US" altLang="en-US" sz="700" smtClean="0">
              <a:solidFill>
                <a:srgbClr val="404040"/>
              </a:solidFill>
              <a:latin typeface="Calibri" pitchFamily="34" charset="0"/>
            </a:endParaRPr>
          </a:p>
        </p:txBody>
      </p:sp>
      <p:pic>
        <p:nvPicPr>
          <p:cNvPr id="2056" name="Picture 86" descr="C:\My Documents\Strategy Toolbar\MHF 2013\MHFi Logos\MHF-Circle-red-pos-rgb-300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25" y="304800"/>
            <a:ext cx="381000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2"/>
          <p:cNvSpPr>
            <a:spLocks noGrp="1"/>
          </p:cNvSpPr>
          <p:nvPr>
            <p:ph type="dt" sz="half" idx="2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 dirty="0">
                <a:latin typeface="Arial" charset="0"/>
              </a:defRPr>
            </a:lvl1pPr>
          </a:lstStyle>
          <a:p>
            <a:pPr algn="l" eaLnBrk="0" hangingPunct="0">
              <a:spcBef>
                <a:spcPct val="0"/>
              </a:spcBef>
              <a:defRPr/>
            </a:pPr>
            <a:endParaRPr lang="en-US" altLang="en-US" sz="1800">
              <a:solidFill>
                <a:srgbClr val="000000"/>
              </a:solidFill>
            </a:endParaRPr>
          </a:p>
        </p:txBody>
      </p:sp>
      <p:pic>
        <p:nvPicPr>
          <p:cNvPr id="10" name="Picture 2" descr="C:\Documents and Settings\jayaramann\Desktop\Templates\With New Logo\GR&amp;A\GR&amp;A Logos.jp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0043" y="6598920"/>
            <a:ext cx="730557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 txBox="1">
            <a:spLocks/>
          </p:cNvSpPr>
          <p:nvPr userDrawn="1"/>
        </p:nvSpPr>
        <p:spPr bwMode="auto">
          <a:xfrm>
            <a:off x="349644" y="6427110"/>
            <a:ext cx="2854166" cy="2549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1800"/>
              </a:spcAft>
              <a:defRPr sz="4000" b="0" i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900" dirty="0" smtClean="0">
                <a:solidFill>
                  <a:srgbClr val="E31837"/>
                </a:solidFill>
              </a:rPr>
              <a:t>McGraw Hill Financial </a:t>
            </a:r>
            <a:r>
              <a:rPr lang="en-US" sz="900" dirty="0" smtClean="0">
                <a:solidFill>
                  <a:srgbClr val="000000"/>
                </a:solidFill>
              </a:rPr>
              <a:t>| HR Insights &amp; Analytics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gray">
          <a:xfrm>
            <a:off x="3203810" y="6471350"/>
            <a:ext cx="2743200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b" anchorCtr="0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900" kern="800" spc="100" dirty="0">
                <a:solidFill>
                  <a:srgbClr val="E31837"/>
                </a:solidFill>
                <a:latin typeface="Arial"/>
              </a:rPr>
              <a:t>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4263344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2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>
          <a:solidFill>
            <a:srgbClr val="7F7F7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rgbClr val="7F7F7F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rgbClr val="7F7F7F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rgbClr val="7F7F7F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rgbClr val="7F7F7F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9pPr>
    </p:titleStyle>
    <p:bodyStyle>
      <a:lvl1pPr marL="173038" indent="-173038" algn="l" rtl="0" eaLnBrk="0" fontAlgn="base" hangingPunct="0">
        <a:spcBef>
          <a:spcPts val="300"/>
        </a:spcBef>
        <a:spcAft>
          <a:spcPct val="0"/>
        </a:spcAft>
        <a:buClr>
          <a:srgbClr val="E31837"/>
        </a:buClr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84150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538163" indent="-177800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3pPr>
      <a:lvl4pPr marL="717550" indent="-177800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896938" indent="-177800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5pPr>
      <a:lvl6pPr marL="13541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18113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2685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27257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10599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27088" y="19050"/>
            <a:ext cx="7956550" cy="590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27088" y="1189038"/>
            <a:ext cx="7956550" cy="5192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cxnSp>
        <p:nvCxnSpPr>
          <p:cNvPr id="2053" name="Straight Connector 15"/>
          <p:cNvCxnSpPr>
            <a:cxnSpLocks noChangeShapeType="1"/>
          </p:cNvCxnSpPr>
          <p:nvPr/>
        </p:nvCxnSpPr>
        <p:spPr bwMode="auto">
          <a:xfrm>
            <a:off x="827088" y="685800"/>
            <a:ext cx="7956550" cy="0"/>
          </a:xfrm>
          <a:prstGeom prst="line">
            <a:avLst/>
          </a:prstGeom>
          <a:noFill/>
          <a:ln w="19050" algn="ctr">
            <a:solidFill>
              <a:srgbClr val="E3183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54" name="Straight Connector 22"/>
          <p:cNvCxnSpPr>
            <a:cxnSpLocks noChangeShapeType="1"/>
          </p:cNvCxnSpPr>
          <p:nvPr/>
        </p:nvCxnSpPr>
        <p:spPr bwMode="auto">
          <a:xfrm>
            <a:off x="360363" y="6553200"/>
            <a:ext cx="8423275" cy="0"/>
          </a:xfrm>
          <a:prstGeom prst="line">
            <a:avLst/>
          </a:prstGeom>
          <a:noFill/>
          <a:ln w="6350" algn="ctr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31" name="TextBox 8"/>
          <p:cNvSpPr txBox="1">
            <a:spLocks noChangeArrowheads="1"/>
          </p:cNvSpPr>
          <p:nvPr/>
        </p:nvSpPr>
        <p:spPr bwMode="auto">
          <a:xfrm>
            <a:off x="8278813" y="6623050"/>
            <a:ext cx="504825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spcBef>
                <a:spcPct val="0"/>
              </a:spcBef>
              <a:defRPr/>
            </a:pPr>
            <a:fld id="{A6E269C4-1519-47F9-B12C-3BCCC8184F87}" type="slidenum">
              <a:rPr lang="en-US" altLang="en-US" sz="900" smtClean="0">
                <a:solidFill>
                  <a:srgbClr val="404040"/>
                </a:solidFill>
                <a:latin typeface="Calibri" pitchFamily="34" charset="0"/>
              </a:rPr>
              <a:pPr algn="r" eaLnBrk="0" hangingPunct="0">
                <a:spcBef>
                  <a:spcPct val="0"/>
                </a:spcBef>
                <a:defRPr/>
              </a:pPr>
              <a:t>‹#›</a:t>
            </a:fld>
            <a:endParaRPr lang="en-US" altLang="en-US" sz="700" smtClean="0">
              <a:solidFill>
                <a:srgbClr val="404040"/>
              </a:solidFill>
              <a:latin typeface="Calibri" pitchFamily="34" charset="0"/>
            </a:endParaRPr>
          </a:p>
        </p:txBody>
      </p:sp>
      <p:pic>
        <p:nvPicPr>
          <p:cNvPr id="2056" name="Picture 86" descr="C:\My Documents\Strategy Toolbar\MHF 2013\MHFi Logos\MHF-Circle-red-pos-rgb-300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25" y="304800"/>
            <a:ext cx="381000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2"/>
          <p:cNvSpPr>
            <a:spLocks noGrp="1"/>
          </p:cNvSpPr>
          <p:nvPr>
            <p:ph type="dt" sz="half" idx="2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 dirty="0">
                <a:latin typeface="Arial" charset="0"/>
              </a:defRPr>
            </a:lvl1pPr>
          </a:lstStyle>
          <a:p>
            <a:pPr algn="l" eaLnBrk="0" hangingPunct="0">
              <a:spcBef>
                <a:spcPct val="0"/>
              </a:spcBef>
              <a:defRPr/>
            </a:pPr>
            <a:endParaRPr lang="en-US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600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>
          <a:solidFill>
            <a:srgbClr val="7F7F7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rgbClr val="7F7F7F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rgbClr val="7F7F7F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rgbClr val="7F7F7F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rgbClr val="7F7F7F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9pPr>
    </p:titleStyle>
    <p:bodyStyle>
      <a:lvl1pPr marL="173038" indent="-173038" algn="l" rtl="0" eaLnBrk="0" fontAlgn="base" hangingPunct="0">
        <a:spcBef>
          <a:spcPts val="300"/>
        </a:spcBef>
        <a:spcAft>
          <a:spcPct val="0"/>
        </a:spcAft>
        <a:buClr>
          <a:srgbClr val="E31837"/>
        </a:buClr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84150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538163" indent="-177800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3pPr>
      <a:lvl4pPr marL="717550" indent="-177800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896938" indent="-177800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5pPr>
      <a:lvl6pPr marL="13541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18113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2685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27257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4.png"/><Relationship Id="rId4" Type="http://schemas.openxmlformats.org/officeDocument/2006/relationships/chart" Target="../charts/chart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13" Type="http://schemas.openxmlformats.org/officeDocument/2006/relationships/image" Target="../media/image33.JPG"/><Relationship Id="rId3" Type="http://schemas.openxmlformats.org/officeDocument/2006/relationships/image" Target="../media/image29.jpeg"/><Relationship Id="rId7" Type="http://schemas.openxmlformats.org/officeDocument/2006/relationships/chart" Target="../charts/chart12.xml"/><Relationship Id="rId12" Type="http://schemas.openxmlformats.org/officeDocument/2006/relationships/image" Target="../media/image2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Relationship Id="rId6" Type="http://schemas.openxmlformats.org/officeDocument/2006/relationships/chart" Target="../charts/chart11.xml"/><Relationship Id="rId11" Type="http://schemas.openxmlformats.org/officeDocument/2006/relationships/image" Target="../media/image32.JPG"/><Relationship Id="rId5" Type="http://schemas.openxmlformats.org/officeDocument/2006/relationships/chart" Target="../charts/chart10.xml"/><Relationship Id="rId15" Type="http://schemas.openxmlformats.org/officeDocument/2006/relationships/chart" Target="../charts/chart14.xml"/><Relationship Id="rId10" Type="http://schemas.openxmlformats.org/officeDocument/2006/relationships/image" Target="../media/image31.JPG"/><Relationship Id="rId4" Type="http://schemas.openxmlformats.org/officeDocument/2006/relationships/chart" Target="../charts/chart9.xml"/><Relationship Id="rId9" Type="http://schemas.openxmlformats.org/officeDocument/2006/relationships/image" Target="../media/image30.JPG"/><Relationship Id="rId1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chart" Target="../charts/chart15.xml"/><Relationship Id="rId7" Type="http://schemas.openxmlformats.org/officeDocument/2006/relationships/chart" Target="../charts/chart19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8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4.png"/><Relationship Id="rId4" Type="http://schemas.openxmlformats.org/officeDocument/2006/relationships/chart" Target="../charts/chart2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G"/><Relationship Id="rId13" Type="http://schemas.openxmlformats.org/officeDocument/2006/relationships/image" Target="../media/image14.png"/><Relationship Id="rId3" Type="http://schemas.openxmlformats.org/officeDocument/2006/relationships/image" Target="../media/image37.png"/><Relationship Id="rId7" Type="http://schemas.openxmlformats.org/officeDocument/2006/relationships/image" Target="../media/image41.JPG"/><Relationship Id="rId12" Type="http://schemas.openxmlformats.org/officeDocument/2006/relationships/image" Target="../media/image4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40.JPG"/><Relationship Id="rId11" Type="http://schemas.openxmlformats.org/officeDocument/2006/relationships/image" Target="../media/image45.JPG"/><Relationship Id="rId5" Type="http://schemas.openxmlformats.org/officeDocument/2006/relationships/image" Target="../media/image39.JPG"/><Relationship Id="rId10" Type="http://schemas.openxmlformats.org/officeDocument/2006/relationships/image" Target="../media/image44.JPG"/><Relationship Id="rId4" Type="http://schemas.openxmlformats.org/officeDocument/2006/relationships/image" Target="../media/image38.png"/><Relationship Id="rId9" Type="http://schemas.openxmlformats.org/officeDocument/2006/relationships/image" Target="../media/image43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4.png"/><Relationship Id="rId4" Type="http://schemas.openxmlformats.org/officeDocument/2006/relationships/chart" Target="../charts/chart2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4.png"/><Relationship Id="rId4" Type="http://schemas.openxmlformats.org/officeDocument/2006/relationships/chart" Target="../charts/chart2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G"/><Relationship Id="rId3" Type="http://schemas.openxmlformats.org/officeDocument/2006/relationships/image" Target="../media/image37.png"/><Relationship Id="rId7" Type="http://schemas.openxmlformats.org/officeDocument/2006/relationships/image" Target="../media/image49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48.JPG"/><Relationship Id="rId5" Type="http://schemas.openxmlformats.org/officeDocument/2006/relationships/image" Target="../media/image47.JPG"/><Relationship Id="rId4" Type="http://schemas.openxmlformats.org/officeDocument/2006/relationships/image" Target="../media/image38.png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4.pn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chart" Target="../charts/chart1.xml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0.png"/><Relationship Id="rId11" Type="http://schemas.openxmlformats.org/officeDocument/2006/relationships/chart" Target="../charts/chart2.xml"/><Relationship Id="rId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4.png"/><Relationship Id="rId4" Type="http://schemas.openxmlformats.org/officeDocument/2006/relationships/image" Target="../media/image24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4.png"/><Relationship Id="rId4" Type="http://schemas.openxmlformats.org/officeDocument/2006/relationships/image" Target="../media/image2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7" Type="http://schemas.openxmlformats.org/officeDocument/2006/relationships/chart" Target="../charts/chart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Relationship Id="rId6" Type="http://schemas.openxmlformats.org/officeDocument/2006/relationships/chart" Target="../charts/chart5.xml"/><Relationship Id="rId5" Type="http://schemas.openxmlformats.org/officeDocument/2006/relationships/image" Target="../media/image14.png"/><Relationship Id="rId4" Type="http://schemas.openxmlformats.org/officeDocument/2006/relationships/image" Target="../media/image2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44696" y="1715844"/>
            <a:ext cx="6856304" cy="874956"/>
          </a:xfrm>
        </p:spPr>
        <p:txBody>
          <a:bodyPr>
            <a:normAutofit/>
          </a:bodyPr>
          <a:lstStyle/>
          <a:p>
            <a:pPr algn="l"/>
            <a:r>
              <a:rPr lang="en-US" sz="2400" dirty="0">
                <a:solidFill>
                  <a:schemeClr val="bg1">
                    <a:lumMod val="50000"/>
                  </a:schemeClr>
                </a:solidFill>
              </a:rPr>
              <a:t>Analysis </a:t>
            </a:r>
            <a:r>
              <a:rPr lang="en-US" sz="2400" dirty="0" smtClean="0">
                <a:solidFill>
                  <a:schemeClr val="bg1">
                    <a:lumMod val="50000"/>
                  </a:schemeClr>
                </a:solidFill>
              </a:rPr>
              <a:t>of S&amp;P Global Market Intelligence </a:t>
            </a:r>
            <a:br>
              <a:rPr lang="en-US" sz="2400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2400" dirty="0" smtClean="0">
                <a:solidFill>
                  <a:schemeClr val="bg1">
                    <a:lumMod val="50000"/>
                  </a:schemeClr>
                </a:solidFill>
              </a:rPr>
              <a:t>Glassdoor Reviews</a:t>
            </a:r>
            <a:endParaRPr 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143000" y="5257800"/>
            <a:ext cx="6768448" cy="283464"/>
          </a:xfrm>
        </p:spPr>
        <p:txBody>
          <a:bodyPr>
            <a:normAutofit fontScale="85000" lnSpcReduction="20000"/>
          </a:bodyPr>
          <a:lstStyle/>
          <a:p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February 2016</a:t>
            </a:r>
            <a:endParaRPr lang="en-US" sz="18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143000" y="4495800"/>
            <a:ext cx="6768448" cy="601248"/>
          </a:xfrm>
        </p:spPr>
        <p:txBody>
          <a:bodyPr>
            <a:normAutofit lnSpcReduction="10000"/>
          </a:bodyPr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HR Insight &amp; Analytics</a:t>
            </a:r>
          </a:p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CRISIL Corporate Data Analytics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228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3467100"/>
            <a:ext cx="2533650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8024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8977" y="304800"/>
            <a:ext cx="7070560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b="0" dirty="0">
                <a:solidFill>
                  <a:schemeClr val="bg2">
                    <a:lumMod val="50000"/>
                  </a:schemeClr>
                </a:solidFill>
              </a:rPr>
              <a:t>Approval of the </a:t>
            </a:r>
            <a:r>
              <a:rPr lang="en-US" b="0" dirty="0" smtClean="0">
                <a:solidFill>
                  <a:schemeClr val="bg2">
                    <a:lumMod val="50000"/>
                  </a:schemeClr>
                </a:solidFill>
              </a:rPr>
              <a:t>CEO from Mar 2009 to Sep 2015</a:t>
            </a:r>
            <a:endParaRPr lang="en-US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D51F4-68C8-4EB1-9F65-FF42CDFADB18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350413" y="995363"/>
            <a:ext cx="8488787" cy="4643437"/>
            <a:chOff x="350413" y="838201"/>
            <a:chExt cx="8593562" cy="4158146"/>
          </a:xfrm>
        </p:grpSpPr>
        <p:sp>
          <p:nvSpPr>
            <p:cNvPr id="33" name="Round Same Side Corner Rectangle 32"/>
            <p:cNvSpPr/>
            <p:nvPr/>
          </p:nvSpPr>
          <p:spPr>
            <a:xfrm>
              <a:off x="350413" y="838201"/>
              <a:ext cx="8593562" cy="321903"/>
            </a:xfrm>
            <a:prstGeom prst="round2SameRect">
              <a:avLst/>
            </a:prstGeom>
            <a:solidFill>
              <a:srgbClr val="E31837"/>
            </a:solidFill>
            <a:ln w="635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rgbClr val="FFFFFF"/>
                  </a:solidFill>
                  <a:cs typeface="Arial" panose="020B0604020202020204" pitchFamily="34" charset="0"/>
                </a:rPr>
                <a:t>CEO Approval Trend*</a:t>
              </a:r>
              <a:endParaRPr lang="en-US" sz="1600" b="1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aphicFrame>
          <p:nvGraphicFramePr>
            <p:cNvPr id="31" name="Chart 30"/>
            <p:cNvGraphicFramePr/>
            <p:nvPr>
              <p:extLst>
                <p:ext uri="{D42A27DB-BD31-4B8C-83A1-F6EECF244321}">
                  <p14:modId xmlns:p14="http://schemas.microsoft.com/office/powerpoint/2010/main" val="693273151"/>
                </p:ext>
              </p:extLst>
            </p:nvPr>
          </p:nvGraphicFramePr>
          <p:xfrm>
            <a:off x="350413" y="1153496"/>
            <a:ext cx="8593562" cy="38428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sp>
        <p:nvSpPr>
          <p:cNvPr id="20" name="TextBox 19"/>
          <p:cNvSpPr txBox="1"/>
          <p:nvPr/>
        </p:nvSpPr>
        <p:spPr>
          <a:xfrm>
            <a:off x="381000" y="6599599"/>
            <a:ext cx="5486400" cy="1046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IN" sz="800" dirty="0" smtClean="0"/>
              <a:t>*2009 and 2010 were excluded due to low number of reviews</a:t>
            </a: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6943560" y="4874736"/>
            <a:ext cx="1066800" cy="73866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dirty="0" smtClean="0"/>
              <a:t>Acquisition </a:t>
            </a:r>
            <a:r>
              <a:rPr lang="en-US" dirty="0"/>
              <a:t>of SNL </a:t>
            </a:r>
            <a:r>
              <a:rPr lang="en-US" dirty="0" smtClean="0"/>
              <a:t>Financial</a:t>
            </a:r>
          </a:p>
          <a:p>
            <a:pPr algn="l"/>
            <a:r>
              <a:rPr lang="en-US" dirty="0" smtClean="0"/>
              <a:t>Appointment of new president</a:t>
            </a:r>
          </a:p>
        </p:txBody>
      </p:sp>
    </p:spTree>
    <p:extLst>
      <p:ext uri="{BB962C8B-B14F-4D97-AF65-F5344CB8AC3E}">
        <p14:creationId xmlns:p14="http://schemas.microsoft.com/office/powerpoint/2010/main" val="4136574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04800"/>
            <a:ext cx="7070560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IN" b="0" dirty="0" smtClean="0">
                <a:solidFill>
                  <a:schemeClr val="bg2">
                    <a:lumMod val="50000"/>
                  </a:schemeClr>
                </a:solidFill>
              </a:rPr>
              <a:t>Recommender </a:t>
            </a:r>
            <a:r>
              <a:rPr lang="en-IN" b="0" dirty="0">
                <a:solidFill>
                  <a:schemeClr val="bg2">
                    <a:lumMod val="50000"/>
                  </a:schemeClr>
                </a:solidFill>
              </a:rPr>
              <a:t>Score </a:t>
            </a:r>
            <a:r>
              <a:rPr lang="en-US" b="0" dirty="0">
                <a:solidFill>
                  <a:schemeClr val="bg2">
                    <a:lumMod val="50000"/>
                  </a:schemeClr>
                </a:solidFill>
              </a:rPr>
              <a:t>from Mar 2009 to Sep 2015</a:t>
            </a:r>
            <a:endParaRPr lang="en-IN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D51F4-68C8-4EB1-9F65-FF42CDFADB1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5937606" y="6582489"/>
            <a:ext cx="2977794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en-IN" sz="800" dirty="0" smtClean="0"/>
              <a:t>* NRS=%Recommendation - %Non-recommendatio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52425" y="1004886"/>
            <a:ext cx="8410575" cy="4064003"/>
            <a:chOff x="356489" y="1077439"/>
            <a:chExt cx="8412480" cy="3704072"/>
          </a:xfrm>
        </p:grpSpPr>
        <p:sp>
          <p:nvSpPr>
            <p:cNvPr id="22" name="Round Same Side Corner Rectangle 21"/>
            <p:cNvSpPr/>
            <p:nvPr/>
          </p:nvSpPr>
          <p:spPr>
            <a:xfrm>
              <a:off x="356489" y="1077439"/>
              <a:ext cx="4114800" cy="291695"/>
            </a:xfrm>
            <a:prstGeom prst="round2SameRect">
              <a:avLst/>
            </a:prstGeom>
            <a:solidFill>
              <a:srgbClr val="E31837"/>
            </a:solidFill>
            <a:ln w="635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rgbClr val="FFFFFF"/>
                  </a:solidFill>
                </a:rPr>
                <a:t>Recommender Score</a:t>
              </a:r>
              <a:endParaRPr lang="en-US" sz="1600" b="1" dirty="0">
                <a:solidFill>
                  <a:srgbClr val="FFFFFF"/>
                </a:solidFill>
              </a:endParaRPr>
            </a:p>
          </p:txBody>
        </p:sp>
        <p:sp>
          <p:nvSpPr>
            <p:cNvPr id="24" name="Round Same Side Corner Rectangle 23"/>
            <p:cNvSpPr/>
            <p:nvPr/>
          </p:nvSpPr>
          <p:spPr>
            <a:xfrm>
              <a:off x="4654169" y="1077439"/>
              <a:ext cx="4114800" cy="291695"/>
            </a:xfrm>
            <a:prstGeom prst="round2SameRect">
              <a:avLst/>
            </a:prstGeom>
            <a:solidFill>
              <a:srgbClr val="E31837"/>
            </a:solidFill>
            <a:ln w="635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rgbClr val="FFFFFF"/>
                  </a:solidFill>
                </a:rPr>
                <a:t>Negative </a:t>
              </a:r>
              <a:r>
                <a:rPr lang="en-US" sz="1600" b="1" dirty="0">
                  <a:solidFill>
                    <a:srgbClr val="FFFFFF"/>
                  </a:solidFill>
                </a:rPr>
                <a:t>Wordcloud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654169" y="1369134"/>
              <a:ext cx="4114800" cy="341237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350413" y="5488569"/>
            <a:ext cx="8412586" cy="9020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33363" indent="-233363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>
                <a:latin typeface="+mj-lt"/>
              </a:defRPr>
            </a:lvl1pPr>
          </a:lstStyle>
          <a:p>
            <a:r>
              <a:rPr lang="en-US" dirty="0" smtClean="0"/>
              <a:t>2011 and 2013 have lower recommender scores compared to other years</a:t>
            </a:r>
            <a:endParaRPr lang="en-US" dirty="0"/>
          </a:p>
          <a:p>
            <a:r>
              <a:rPr lang="en-US" dirty="0"/>
              <a:t>Non recommenders are unhappy about </a:t>
            </a:r>
            <a:r>
              <a:rPr lang="en-US" dirty="0" smtClean="0"/>
              <a:t>management</a:t>
            </a:r>
            <a:r>
              <a:rPr lang="en-US" dirty="0"/>
              <a:t>, </a:t>
            </a:r>
            <a:r>
              <a:rPr lang="en-US" dirty="0" smtClean="0"/>
              <a:t>compensation</a:t>
            </a:r>
            <a:r>
              <a:rPr lang="en-US" dirty="0"/>
              <a:t>, </a:t>
            </a:r>
            <a:r>
              <a:rPr lang="en-US" dirty="0" smtClean="0"/>
              <a:t>career growth </a:t>
            </a:r>
            <a:r>
              <a:rPr lang="en-US" dirty="0"/>
              <a:t>and </a:t>
            </a:r>
            <a:r>
              <a:rPr lang="en-US" dirty="0" smtClean="0"/>
              <a:t>work environment</a:t>
            </a:r>
            <a:endParaRPr lang="en-US" dirty="0"/>
          </a:p>
        </p:txBody>
      </p:sp>
      <p:sp>
        <p:nvSpPr>
          <p:cNvPr id="32" name="Round Same Side Corner Rectangle 31"/>
          <p:cNvSpPr/>
          <p:nvPr/>
        </p:nvSpPr>
        <p:spPr>
          <a:xfrm>
            <a:off x="350413" y="5168529"/>
            <a:ext cx="1502235" cy="320040"/>
          </a:xfrm>
          <a:prstGeom prst="round2SameRect">
            <a:avLst/>
          </a:prstGeom>
          <a:solidFill>
            <a:srgbClr val="E3183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rgbClr val="FFFFFF"/>
                </a:solidFill>
              </a:rPr>
              <a:t>Key Points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5886" y="2009894"/>
            <a:ext cx="2880360" cy="2287823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381000" y="6599599"/>
            <a:ext cx="5486400" cy="1046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IN" sz="800" dirty="0" smtClean="0"/>
              <a:t>**2009 and 2010 were excluded due to low number of reviews</a:t>
            </a:r>
          </a:p>
        </p:txBody>
      </p:sp>
      <p:graphicFrame>
        <p:nvGraphicFramePr>
          <p:cNvPr id="30" name="Chart 2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564620"/>
              </p:ext>
            </p:extLst>
          </p:nvPr>
        </p:nvGraphicFramePr>
        <p:xfrm>
          <a:off x="350413" y="1330006"/>
          <a:ext cx="4115880" cy="37388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2679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Same Side Corner Rectangle 10"/>
          <p:cNvSpPr/>
          <p:nvPr/>
        </p:nvSpPr>
        <p:spPr>
          <a:xfrm>
            <a:off x="3149756" y="900430"/>
            <a:ext cx="2808369" cy="274320"/>
          </a:xfrm>
          <a:prstGeom prst="round2Same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>
              <a:spcBef>
                <a:spcPts val="0"/>
              </a:spcBef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MHFI</a:t>
            </a:r>
          </a:p>
        </p:txBody>
      </p:sp>
      <p:sp>
        <p:nvSpPr>
          <p:cNvPr id="14" name="Round Same Side Corner Rectangle 13"/>
          <p:cNvSpPr/>
          <p:nvPr/>
        </p:nvSpPr>
        <p:spPr>
          <a:xfrm>
            <a:off x="6076737" y="900430"/>
            <a:ext cx="2808369" cy="274320"/>
          </a:xfrm>
          <a:prstGeom prst="round2Same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>
              <a:spcBef>
                <a:spcPts val="0"/>
              </a:spcBef>
            </a:pPr>
            <a:r>
              <a:rPr lang="en-US" sz="1600" b="1" dirty="0" err="1">
                <a:solidFill>
                  <a:srgbClr val="FFFFFF"/>
                </a:solidFill>
                <a:cs typeface="Arial" panose="020B0604020202020204" pitchFamily="34" charset="0"/>
              </a:rPr>
              <a:t>Platts</a:t>
            </a:r>
            <a:endParaRPr lang="en-US"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3" name="Round Same Side Corner Rectangle 22"/>
          <p:cNvSpPr/>
          <p:nvPr/>
        </p:nvSpPr>
        <p:spPr>
          <a:xfrm>
            <a:off x="3158808" y="3544438"/>
            <a:ext cx="2808369" cy="274320"/>
          </a:xfrm>
          <a:prstGeom prst="round2Same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>
              <a:spcBef>
                <a:spcPts val="0"/>
              </a:spcBef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S&amp;P Dow Jones</a:t>
            </a:r>
          </a:p>
        </p:txBody>
      </p:sp>
      <p:sp>
        <p:nvSpPr>
          <p:cNvPr id="25" name="Round Same Side Corner Rectangle 24"/>
          <p:cNvSpPr/>
          <p:nvPr/>
        </p:nvSpPr>
        <p:spPr>
          <a:xfrm>
            <a:off x="6085789" y="3544438"/>
            <a:ext cx="2808369" cy="274320"/>
          </a:xfrm>
          <a:prstGeom prst="round2Same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>
              <a:spcBef>
                <a:spcPts val="0"/>
              </a:spcBef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S&amp;P Ratings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3158808" y="3820029"/>
            <a:ext cx="2808369" cy="2275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rot="0" spcFirstLastPara="0" vertOverflow="overflow" horzOverflow="overflow" vert="horz" wrap="none" lIns="72390" tIns="72390" rIns="72390" bIns="72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</a:pPr>
            <a:endParaRPr lang="en-US" sz="1000" dirty="0" err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3149756" y="1176021"/>
            <a:ext cx="2808369" cy="2275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rot="0" spcFirstLastPara="0" vertOverflow="overflow" horzOverflow="overflow" vert="horz" wrap="none" lIns="72390" tIns="72390" rIns="72390" bIns="72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</a:pPr>
            <a:endParaRPr lang="en-US" sz="1000" dirty="0" err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6076737" y="1176021"/>
            <a:ext cx="2808369" cy="2275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rot="0" spcFirstLastPara="0" vertOverflow="overflow" horzOverflow="overflow" vert="horz" wrap="none" lIns="72390" tIns="72390" rIns="72390" bIns="72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</a:pPr>
            <a:endParaRPr lang="en-US" sz="1000" dirty="0" err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6085789" y="3820029"/>
            <a:ext cx="2808369" cy="2275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rot="0" spcFirstLastPara="0" vertOverflow="overflow" horzOverflow="overflow" vert="horz" wrap="none" lIns="72390" tIns="72390" rIns="72390" bIns="72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</a:pPr>
            <a:endParaRPr lang="en-US" sz="1000" dirty="0" err="1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94199" y="3528998"/>
            <a:ext cx="2808369" cy="2588460"/>
            <a:chOff x="-2895600" y="2067034"/>
            <a:chExt cx="2808369" cy="2588460"/>
          </a:xfrm>
        </p:grpSpPr>
        <p:sp>
          <p:nvSpPr>
            <p:cNvPr id="10" name="Rectangle 9"/>
            <p:cNvSpPr/>
            <p:nvPr/>
          </p:nvSpPr>
          <p:spPr bwMode="auto">
            <a:xfrm>
              <a:off x="-2895600" y="2379523"/>
              <a:ext cx="2808369" cy="2275971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rot="0" spcFirstLastPara="0" vertOverflow="overflow" horzOverflow="overflow" vert="horz" wrap="none" lIns="72390" tIns="72390" rIns="72390" bIns="723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</a:pPr>
              <a:endParaRPr lang="en-US" sz="1000" dirty="0" err="1">
                <a:solidFill>
                  <a:srgbClr val="000000"/>
                </a:solidFill>
                <a:latin typeface="Arial" charset="0"/>
              </a:endParaRPr>
            </a:p>
          </p:txBody>
        </p: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743200" y="2661481"/>
              <a:ext cx="1564504" cy="1341003"/>
            </a:xfrm>
            <a:prstGeom prst="rect">
              <a:avLst/>
            </a:prstGeom>
          </p:spPr>
        </p:pic>
        <p:sp>
          <p:nvSpPr>
            <p:cNvPr id="8" name="Round Same Side Corner Rectangle 7"/>
            <p:cNvSpPr/>
            <p:nvPr/>
          </p:nvSpPr>
          <p:spPr>
            <a:xfrm>
              <a:off x="-2895600" y="2067034"/>
              <a:ext cx="2808369" cy="274320"/>
            </a:xfrm>
            <a:prstGeom prst="round2SameRect">
              <a:avLst/>
            </a:prstGeom>
            <a:solidFill>
              <a:schemeClr val="tx2"/>
            </a:solidFill>
            <a:ln w="6350"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 anchorCtr="0"/>
            <a:lstStyle/>
            <a:p>
              <a:pPr algn="ctr">
                <a:spcBef>
                  <a:spcPts val="0"/>
                </a:spcBef>
              </a:pPr>
              <a:r>
                <a:rPr lang="en-US" sz="1600" b="1" dirty="0" smtClean="0">
                  <a:solidFill>
                    <a:srgbClr val="FFFFFF"/>
                  </a:solidFill>
                  <a:cs typeface="Arial" panose="020B0604020202020204" pitchFamily="34" charset="0"/>
                </a:rPr>
                <a:t>JDPA</a:t>
              </a:r>
              <a:endParaRPr lang="en-US" sz="1600" b="1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aphicFrame>
          <p:nvGraphicFramePr>
            <p:cNvPr id="16" name="Chart 15"/>
            <p:cNvGraphicFramePr/>
            <p:nvPr>
              <p:extLst>
                <p:ext uri="{D42A27DB-BD31-4B8C-83A1-F6EECF244321}">
                  <p14:modId xmlns:p14="http://schemas.microsoft.com/office/powerpoint/2010/main" val="2241026652"/>
                </p:ext>
              </p:extLst>
            </p:nvPr>
          </p:nvGraphicFramePr>
          <p:xfrm>
            <a:off x="-1205184" y="2504108"/>
            <a:ext cx="1105253" cy="95423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3" name="Rectangle 12"/>
            <p:cNvSpPr/>
            <p:nvPr/>
          </p:nvSpPr>
          <p:spPr>
            <a:xfrm>
              <a:off x="-762000" y="2895600"/>
              <a:ext cx="213199" cy="184666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00000"/>
                  </a:solidFill>
                </a:rPr>
                <a:t>2.9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-1391028" y="3319282"/>
              <a:ext cx="246863" cy="153888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</a:pPr>
              <a:r>
                <a:rPr lang="en-US" sz="1000" b="1" dirty="0" smtClean="0">
                  <a:solidFill>
                    <a:srgbClr val="000000"/>
                  </a:solidFill>
                </a:rPr>
                <a:t>3.15</a:t>
              </a:r>
              <a:endParaRPr lang="en-US" sz="1000" b="1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43" name="Chart 42"/>
          <p:cNvGraphicFramePr/>
          <p:nvPr>
            <p:extLst/>
          </p:nvPr>
        </p:nvGraphicFramePr>
        <p:xfrm>
          <a:off x="4907879" y="1211879"/>
          <a:ext cx="1105253" cy="9542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4" name="Rectangle 43"/>
          <p:cNvSpPr/>
          <p:nvPr/>
        </p:nvSpPr>
        <p:spPr>
          <a:xfrm>
            <a:off x="5353905" y="1596663"/>
            <a:ext cx="213200" cy="18466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</a:rPr>
              <a:t>3.1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934737" y="1981200"/>
            <a:ext cx="246863" cy="15388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0000"/>
                </a:solidFill>
              </a:rPr>
              <a:t>3.15</a:t>
            </a:r>
            <a:endParaRPr lang="en-US" sz="1000" b="1" dirty="0">
              <a:solidFill>
                <a:srgbClr val="000000"/>
              </a:solidFill>
            </a:endParaRPr>
          </a:p>
        </p:txBody>
      </p:sp>
      <p:graphicFrame>
        <p:nvGraphicFramePr>
          <p:cNvPr id="49" name="Chart 48"/>
          <p:cNvGraphicFramePr/>
          <p:nvPr>
            <p:extLst/>
          </p:nvPr>
        </p:nvGraphicFramePr>
        <p:xfrm>
          <a:off x="7838975" y="1211879"/>
          <a:ext cx="1105253" cy="9542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0" name="Rectangle 49"/>
          <p:cNvSpPr/>
          <p:nvPr/>
        </p:nvSpPr>
        <p:spPr>
          <a:xfrm>
            <a:off x="8285001" y="1596663"/>
            <a:ext cx="213199" cy="18466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2.9</a:t>
            </a:r>
          </a:p>
        </p:txBody>
      </p:sp>
      <p:sp>
        <p:nvSpPr>
          <p:cNvPr id="51" name="Rectangle 50"/>
          <p:cNvSpPr/>
          <p:nvPr/>
        </p:nvSpPr>
        <p:spPr>
          <a:xfrm>
            <a:off x="7848600" y="1981200"/>
            <a:ext cx="246863" cy="15388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0000"/>
                </a:solidFill>
              </a:rPr>
              <a:t>3.15</a:t>
            </a:r>
            <a:endParaRPr lang="en-US" sz="1000" b="1" dirty="0">
              <a:solidFill>
                <a:srgbClr val="000000"/>
              </a:solidFill>
            </a:endParaRPr>
          </a:p>
        </p:txBody>
      </p:sp>
      <p:graphicFrame>
        <p:nvGraphicFramePr>
          <p:cNvPr id="61" name="Chart 60"/>
          <p:cNvGraphicFramePr/>
          <p:nvPr>
            <p:extLst>
              <p:ext uri="{D42A27DB-BD31-4B8C-83A1-F6EECF244321}">
                <p14:modId xmlns:p14="http://schemas.microsoft.com/office/powerpoint/2010/main" val="3950573802"/>
              </p:ext>
            </p:extLst>
          </p:nvPr>
        </p:nvGraphicFramePr>
        <p:xfrm>
          <a:off x="3788731" y="4027884"/>
          <a:ext cx="1565174" cy="1439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2" name="Rectangle 61"/>
          <p:cNvSpPr/>
          <p:nvPr/>
        </p:nvSpPr>
        <p:spPr>
          <a:xfrm>
            <a:off x="4420360" y="4655494"/>
            <a:ext cx="301917" cy="18466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</a:rPr>
              <a:t>3.8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886200" y="5205633"/>
            <a:ext cx="246863" cy="15388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0000"/>
                </a:solidFill>
              </a:rPr>
              <a:t>3.15</a:t>
            </a:r>
            <a:endParaRPr lang="en-US" sz="1000" b="1" dirty="0">
              <a:solidFill>
                <a:srgbClr val="000000"/>
              </a:solidFill>
            </a:endParaRPr>
          </a:p>
        </p:txBody>
      </p:sp>
      <p:graphicFrame>
        <p:nvGraphicFramePr>
          <p:cNvPr id="69" name="Chart 68"/>
          <p:cNvGraphicFramePr/>
          <p:nvPr>
            <p:extLst>
              <p:ext uri="{D42A27DB-BD31-4B8C-83A1-F6EECF244321}">
                <p14:modId xmlns:p14="http://schemas.microsoft.com/office/powerpoint/2010/main" val="3317880723"/>
              </p:ext>
            </p:extLst>
          </p:nvPr>
        </p:nvGraphicFramePr>
        <p:xfrm>
          <a:off x="7838975" y="3842829"/>
          <a:ext cx="1105253" cy="9542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0" name="Rectangle 69"/>
          <p:cNvSpPr/>
          <p:nvPr/>
        </p:nvSpPr>
        <p:spPr>
          <a:xfrm>
            <a:off x="8285002" y="4227613"/>
            <a:ext cx="213199" cy="18466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</a:rPr>
              <a:t>3.2</a:t>
            </a:r>
            <a:endParaRPr lang="en-US" sz="1200" b="1" dirty="0">
              <a:solidFill>
                <a:srgbClr val="000000"/>
              </a:solidFill>
            </a:endParaRP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70" r="3311"/>
          <a:stretch/>
        </p:blipFill>
        <p:spPr>
          <a:xfrm>
            <a:off x="3200400" y="1876425"/>
            <a:ext cx="1741212" cy="150868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6422" y="4508042"/>
            <a:ext cx="1854578" cy="1501056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3201" y="1783254"/>
            <a:ext cx="1695773" cy="1584735"/>
          </a:xfrm>
          <a:prstGeom prst="rect">
            <a:avLst/>
          </a:prstGeom>
        </p:spPr>
      </p:pic>
      <p:sp>
        <p:nvSpPr>
          <p:cNvPr id="71" name="Rectangle 70"/>
          <p:cNvSpPr/>
          <p:nvPr/>
        </p:nvSpPr>
        <p:spPr>
          <a:xfrm>
            <a:off x="7772400" y="4596033"/>
            <a:ext cx="246863" cy="15388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0000"/>
                </a:solidFill>
              </a:rPr>
              <a:t>3.15</a:t>
            </a:r>
            <a:endParaRPr lang="en-US" sz="1000" b="1" dirty="0">
              <a:solidFill>
                <a:srgbClr val="000000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61384" y="900430"/>
            <a:ext cx="2808370" cy="2551562"/>
            <a:chOff x="250511" y="3544438"/>
            <a:chExt cx="2808370" cy="2551562"/>
          </a:xfrm>
        </p:grpSpPr>
        <p:sp>
          <p:nvSpPr>
            <p:cNvPr id="20" name="Round Same Side Corner Rectangle 19"/>
            <p:cNvSpPr/>
            <p:nvPr/>
          </p:nvSpPr>
          <p:spPr>
            <a:xfrm>
              <a:off x="250511" y="3544438"/>
              <a:ext cx="2808369" cy="274320"/>
            </a:xfrm>
            <a:prstGeom prst="round2SameRect">
              <a:avLst/>
            </a:prstGeom>
            <a:solidFill>
              <a:schemeClr val="tx2"/>
            </a:solidFill>
            <a:ln w="6350"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 anchorCtr="0"/>
            <a:lstStyle/>
            <a:p>
              <a:pPr>
                <a:spcBef>
                  <a:spcPts val="0"/>
                </a:spcBef>
              </a:pPr>
              <a:r>
                <a:rPr lang="en-US" sz="1600" b="1" dirty="0" smtClean="0">
                  <a:solidFill>
                    <a:srgbClr val="FFFFFF"/>
                  </a:solidFill>
                  <a:cs typeface="Arial" panose="020B0604020202020204" pitchFamily="34" charset="0"/>
                </a:rPr>
                <a:t>Global Market Intelligence</a:t>
              </a:r>
              <a:endParaRPr lang="en-US" sz="1600" b="1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250512" y="3820029"/>
              <a:ext cx="2808369" cy="2275971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rot="0" spcFirstLastPara="0" vertOverflow="overflow" horzOverflow="overflow" vert="horz" wrap="none" lIns="72390" tIns="72390" rIns="72390" bIns="723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</a:pPr>
              <a:endParaRPr lang="en-US" sz="1000" dirty="0" err="1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2466327" y="4227613"/>
              <a:ext cx="213200" cy="184666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rgbClr val="000000"/>
                  </a:solidFill>
                </a:rPr>
                <a:t>3.3</a:t>
              </a:r>
              <a:endParaRPr lang="en-US" sz="1200" b="1" dirty="0">
                <a:solidFill>
                  <a:srgbClr val="000000"/>
                </a:solidFill>
              </a:endParaRPr>
            </a:p>
          </p:txBody>
        </p:sp>
        <p:pic>
          <p:nvPicPr>
            <p:cNvPr id="46" name="Picture 45"/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330"/>
            <a:stretch/>
          </p:blipFill>
          <p:spPr>
            <a:xfrm>
              <a:off x="320631" y="4508041"/>
              <a:ext cx="1806767" cy="1497691"/>
            </a:xfrm>
            <a:prstGeom prst="rect">
              <a:avLst/>
            </a:prstGeom>
          </p:spPr>
        </p:pic>
        <p:sp>
          <p:nvSpPr>
            <p:cNvPr id="57" name="Rectangle 56"/>
            <p:cNvSpPr/>
            <p:nvPr/>
          </p:nvSpPr>
          <p:spPr>
            <a:xfrm>
              <a:off x="1981200" y="4596033"/>
              <a:ext cx="246863" cy="153888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spAutoFit/>
            </a:bodyPr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</a:pPr>
              <a:r>
                <a:rPr lang="en-US" sz="1000" b="1" dirty="0" smtClean="0">
                  <a:solidFill>
                    <a:srgbClr val="000000"/>
                  </a:solidFill>
                </a:rPr>
                <a:t>3.15</a:t>
              </a:r>
              <a:endParaRPr lang="en-US" sz="10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48" name="Title 1"/>
          <p:cNvSpPr txBox="1">
            <a:spLocks/>
          </p:cNvSpPr>
          <p:nvPr/>
        </p:nvSpPr>
        <p:spPr bwMode="auto">
          <a:xfrm>
            <a:off x="838200" y="304800"/>
            <a:ext cx="7924800" cy="338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eaLnBrk="0" hangingPunct="0">
              <a:spcBef>
                <a:spcPct val="0"/>
              </a:spcBef>
              <a:defRPr lang="en-US" sz="220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Arial" pitchFamily="34" charset="0"/>
              </a:defRPr>
            </a:lvl1pPr>
            <a:lvl2pPr algn="l" eaLnBrk="0" hangingPunct="0">
              <a:spcBef>
                <a:spcPct val="0"/>
              </a:spcBef>
              <a:defRPr>
                <a:solidFill>
                  <a:srgbClr val="7F7F7F"/>
                </a:solidFill>
                <a:latin typeface="Calibri" pitchFamily="34" charset="0"/>
              </a:defRPr>
            </a:lvl2pPr>
            <a:lvl3pPr algn="l" eaLnBrk="0" hangingPunct="0">
              <a:spcBef>
                <a:spcPct val="0"/>
              </a:spcBef>
              <a:defRPr>
                <a:solidFill>
                  <a:srgbClr val="7F7F7F"/>
                </a:solidFill>
                <a:latin typeface="Calibri" pitchFamily="34" charset="0"/>
              </a:defRPr>
            </a:lvl3pPr>
            <a:lvl4pPr algn="l" eaLnBrk="0" hangingPunct="0">
              <a:spcBef>
                <a:spcPct val="0"/>
              </a:spcBef>
              <a:defRPr>
                <a:solidFill>
                  <a:srgbClr val="7F7F7F"/>
                </a:solidFill>
                <a:latin typeface="Calibri" pitchFamily="34" charset="0"/>
              </a:defRPr>
            </a:lvl4pPr>
            <a:lvl5pPr algn="l" eaLnBrk="0" hangingPunct="0">
              <a:spcBef>
                <a:spcPct val="0"/>
              </a:spcBef>
              <a:defRPr>
                <a:solidFill>
                  <a:srgbClr val="7F7F7F"/>
                </a:solidFill>
                <a:latin typeface="Calibri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</a:defRPr>
            </a:lvl9pPr>
          </a:lstStyle>
          <a:p>
            <a:r>
              <a:rPr lang="en-US" dirty="0" smtClean="0"/>
              <a:t>Internal Benchmark – Overall Ratings 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5268" y="6196330"/>
            <a:ext cx="2943225" cy="314325"/>
          </a:xfrm>
          <a:prstGeom prst="rect">
            <a:avLst/>
          </a:prstGeom>
        </p:spPr>
      </p:pic>
      <p:sp>
        <p:nvSpPr>
          <p:cNvPr id="47" name="TextBox 46"/>
          <p:cNvSpPr txBox="1"/>
          <p:nvPr/>
        </p:nvSpPr>
        <p:spPr>
          <a:xfrm>
            <a:off x="3226159" y="5572328"/>
            <a:ext cx="2667000" cy="43088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 anchorCtr="0">
            <a:normAutofit/>
          </a:bodyPr>
          <a:lstStyle>
            <a:defPPr>
              <a:defRPr lang="en-US"/>
            </a:defPPr>
            <a:lvl1pPr marL="239713" indent="-250825" algn="l" eaLnBrk="0" hangingPunct="0">
              <a:spcBef>
                <a:spcPts val="400"/>
              </a:spcBef>
              <a:spcAft>
                <a:spcPts val="200"/>
              </a:spcAft>
              <a:buClr>
                <a:srgbClr val="E31837"/>
              </a:buClr>
              <a:buChar char="•"/>
              <a:defRPr sz="1100" b="1" kern="0">
                <a:latin typeface="+mj-lt"/>
                <a:cs typeface="Arial" panose="020B0604020202020204" pitchFamily="34" charset="0"/>
              </a:defRPr>
            </a:lvl1pPr>
            <a:lvl2pPr marL="454025" lvl="1" indent="-184150" algn="l" eaLnBrk="0" hangingPunct="0">
              <a:spcBef>
                <a:spcPts val="4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–"/>
              <a:defRPr sz="1100" kern="0">
                <a:latin typeface="+mj-lt"/>
                <a:cs typeface="Arial" panose="020B0604020202020204" pitchFamily="34" charset="0"/>
              </a:defRPr>
            </a:lvl2pPr>
            <a:lvl3pPr marL="538163" indent="-177800" algn="l" eaLnBrk="0" hangingPunct="0">
              <a:spcBef>
                <a:spcPts val="300"/>
              </a:spcBef>
              <a:buFont typeface="Arial" pitchFamily="34" charset="0"/>
              <a:buChar char="–"/>
              <a:defRPr sz="1400">
                <a:latin typeface="+mn-lt"/>
              </a:defRPr>
            </a:lvl3pPr>
            <a:lvl4pPr marL="717550" indent="-177800" algn="l" eaLnBrk="0" hangingPunct="0">
              <a:spcBef>
                <a:spcPts val="300"/>
              </a:spcBef>
              <a:buFont typeface="Arial" pitchFamily="34" charset="0"/>
              <a:buChar char="–"/>
              <a:defRPr sz="1400">
                <a:latin typeface="+mn-lt"/>
              </a:defRPr>
            </a:lvl4pPr>
            <a:lvl5pPr marL="896938" indent="-177800" algn="l" eaLnBrk="0" hangingPunct="0">
              <a:spcBef>
                <a:spcPts val="300"/>
              </a:spcBef>
              <a:buFont typeface="Arial" pitchFamily="34" charset="0"/>
              <a:buChar char="–"/>
              <a:defRPr sz="1400">
                <a:latin typeface="+mn-lt"/>
              </a:defRPr>
            </a:lvl5pPr>
            <a:lvl6pPr marL="1354138" indent="-1778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>
                <a:latin typeface="+mn-lt"/>
              </a:defRPr>
            </a:lvl6pPr>
            <a:lvl7pPr marL="1811338" indent="-1778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>
                <a:latin typeface="+mn-lt"/>
              </a:defRPr>
            </a:lvl7pPr>
            <a:lvl8pPr marL="2268538" indent="-1778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>
                <a:latin typeface="+mn-lt"/>
              </a:defRPr>
            </a:lvl8pPr>
            <a:lvl9pPr marL="2725738" indent="-1778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900" b="0" dirty="0" smtClean="0"/>
              <a:t>* There were only 10 reviews for S&amp;P Dow Jones and thus deep dive analysis was not conducted</a:t>
            </a:r>
            <a:endParaRPr lang="en-US" sz="900" b="0" dirty="0"/>
          </a:p>
        </p:txBody>
      </p:sp>
      <p:pic>
        <p:nvPicPr>
          <p:cNvPr id="58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5" name="Chart 54"/>
          <p:cNvGraphicFramePr/>
          <p:nvPr>
            <p:extLst>
              <p:ext uri="{D42A27DB-BD31-4B8C-83A1-F6EECF244321}">
                <p14:modId xmlns:p14="http://schemas.microsoft.com/office/powerpoint/2010/main" val="249544753"/>
              </p:ext>
            </p:extLst>
          </p:nvPr>
        </p:nvGraphicFramePr>
        <p:xfrm>
          <a:off x="2031173" y="1211879"/>
          <a:ext cx="1105253" cy="9542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60" name="TextBox 59"/>
          <p:cNvSpPr txBox="1"/>
          <p:nvPr/>
        </p:nvSpPr>
        <p:spPr>
          <a:xfrm>
            <a:off x="332132" y="6607898"/>
            <a:ext cx="3858867" cy="1046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IN" sz="800" dirty="0"/>
              <a:t>* The </a:t>
            </a:r>
            <a:r>
              <a:rPr lang="en-IN" sz="800" dirty="0" smtClean="0"/>
              <a:t>rating is on a scale of 5 and the time frame of the analysis is from 2009 to 2015</a:t>
            </a:r>
          </a:p>
        </p:txBody>
      </p:sp>
    </p:spTree>
    <p:extLst>
      <p:ext uri="{BB962C8B-B14F-4D97-AF65-F5344CB8AC3E}">
        <p14:creationId xmlns:p14="http://schemas.microsoft.com/office/powerpoint/2010/main" val="362422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>
            <a:off x="250512" y="3544438"/>
            <a:ext cx="4245288" cy="274320"/>
          </a:xfrm>
          <a:prstGeom prst="round2Same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>
              <a:spcBef>
                <a:spcPts val="0"/>
              </a:spcBef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Work Life Balance</a:t>
            </a:r>
          </a:p>
        </p:txBody>
      </p:sp>
      <p:sp>
        <p:nvSpPr>
          <p:cNvPr id="5" name="Round Same Side Corner Rectangle 4"/>
          <p:cNvSpPr/>
          <p:nvPr/>
        </p:nvSpPr>
        <p:spPr>
          <a:xfrm>
            <a:off x="4636059" y="3544438"/>
            <a:ext cx="4258100" cy="274320"/>
          </a:xfrm>
          <a:prstGeom prst="round2Same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>
              <a:spcBef>
                <a:spcPts val="0"/>
              </a:spcBef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Culture Values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250511" y="3820029"/>
            <a:ext cx="4245288" cy="2275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rot="0" spcFirstLastPara="0" vertOverflow="overflow" horzOverflow="overflow" vert="horz" wrap="none" lIns="72390" tIns="72390" rIns="72390" bIns="72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648871" y="3820029"/>
            <a:ext cx="4245288" cy="2275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rot="0" spcFirstLastPara="0" vertOverflow="overflow" horzOverflow="overflow" vert="horz" wrap="none" lIns="72390" tIns="72390" rIns="72390" bIns="72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8" name="Round Same Side Corner Rectangle 7"/>
          <p:cNvSpPr/>
          <p:nvPr/>
        </p:nvSpPr>
        <p:spPr>
          <a:xfrm>
            <a:off x="250512" y="900430"/>
            <a:ext cx="2808369" cy="274320"/>
          </a:xfrm>
          <a:prstGeom prst="round2Same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>
              <a:spcBef>
                <a:spcPts val="0"/>
              </a:spcBef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Career Opportunities</a:t>
            </a:r>
          </a:p>
        </p:txBody>
      </p:sp>
      <p:sp>
        <p:nvSpPr>
          <p:cNvPr id="9" name="Round Same Side Corner Rectangle 8"/>
          <p:cNvSpPr/>
          <p:nvPr/>
        </p:nvSpPr>
        <p:spPr>
          <a:xfrm>
            <a:off x="3149756" y="900430"/>
            <a:ext cx="2808369" cy="274320"/>
          </a:xfrm>
          <a:prstGeom prst="round2Same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>
              <a:spcBef>
                <a:spcPts val="0"/>
              </a:spcBef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Comp &amp; Benefits</a:t>
            </a:r>
          </a:p>
        </p:txBody>
      </p:sp>
      <p:sp>
        <p:nvSpPr>
          <p:cNvPr id="10" name="Round Same Side Corner Rectangle 9"/>
          <p:cNvSpPr/>
          <p:nvPr/>
        </p:nvSpPr>
        <p:spPr>
          <a:xfrm>
            <a:off x="6076737" y="900430"/>
            <a:ext cx="2808369" cy="274320"/>
          </a:xfrm>
          <a:prstGeom prst="round2Same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 anchorCtr="0"/>
          <a:lstStyle/>
          <a:p>
            <a:pPr>
              <a:spcBef>
                <a:spcPts val="0"/>
              </a:spcBef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Senior Leadership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50512" y="1176021"/>
            <a:ext cx="2808369" cy="2275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rot="0" spcFirstLastPara="0" vertOverflow="overflow" horzOverflow="overflow" vert="horz" wrap="none" lIns="72390" tIns="72390" rIns="72390" bIns="72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3149756" y="1176021"/>
            <a:ext cx="2808369" cy="2275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rot="0" spcFirstLastPara="0" vertOverflow="overflow" horzOverflow="overflow" vert="horz" wrap="none" lIns="72390" tIns="72390" rIns="72390" bIns="72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6076737" y="1176021"/>
            <a:ext cx="2808369" cy="227597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rot="0" spcFirstLastPara="0" vertOverflow="overflow" horzOverflow="overflow" vert="horz" wrap="none" lIns="72390" tIns="72390" rIns="72390" bIns="72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 bwMode="auto">
          <a:xfrm>
            <a:off x="801688" y="304800"/>
            <a:ext cx="7924800" cy="338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eaLnBrk="0" hangingPunct="0">
              <a:spcBef>
                <a:spcPct val="0"/>
              </a:spcBef>
              <a:defRPr sz="220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Arial" pitchFamily="34" charset="0"/>
              </a:defRPr>
            </a:lvl1pPr>
            <a:lvl2pPr algn="l" eaLnBrk="0" hangingPunct="0">
              <a:spcBef>
                <a:spcPct val="0"/>
              </a:spcBef>
              <a:defRPr>
                <a:solidFill>
                  <a:srgbClr val="7F7F7F"/>
                </a:solidFill>
                <a:latin typeface="Calibri" pitchFamily="34" charset="0"/>
              </a:defRPr>
            </a:lvl2pPr>
            <a:lvl3pPr algn="l" eaLnBrk="0" hangingPunct="0">
              <a:spcBef>
                <a:spcPct val="0"/>
              </a:spcBef>
              <a:defRPr>
                <a:solidFill>
                  <a:srgbClr val="7F7F7F"/>
                </a:solidFill>
                <a:latin typeface="Calibri" pitchFamily="34" charset="0"/>
              </a:defRPr>
            </a:lvl3pPr>
            <a:lvl4pPr algn="l" eaLnBrk="0" hangingPunct="0">
              <a:spcBef>
                <a:spcPct val="0"/>
              </a:spcBef>
              <a:defRPr>
                <a:solidFill>
                  <a:srgbClr val="7F7F7F"/>
                </a:solidFill>
                <a:latin typeface="Calibri" pitchFamily="34" charset="0"/>
              </a:defRPr>
            </a:lvl4pPr>
            <a:lvl5pPr algn="l" eaLnBrk="0" hangingPunct="0">
              <a:spcBef>
                <a:spcPct val="0"/>
              </a:spcBef>
              <a:defRPr>
                <a:solidFill>
                  <a:srgbClr val="7F7F7F"/>
                </a:solidFill>
                <a:latin typeface="Calibri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Internal Benchmark </a:t>
            </a:r>
            <a:r>
              <a:rPr lang="en-US" dirty="0" smtClean="0"/>
              <a:t>– Key Sub-ratings </a:t>
            </a:r>
            <a:endParaRPr lang="en-US" dirty="0">
              <a:solidFill>
                <a:srgbClr val="CCCCCC">
                  <a:lumMod val="50000"/>
                </a:srgbClr>
              </a:solidFill>
            </a:endParaRPr>
          </a:p>
        </p:txBody>
      </p:sp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3614458090"/>
              </p:ext>
            </p:extLst>
          </p:nvPr>
        </p:nvGraphicFramePr>
        <p:xfrm>
          <a:off x="256200" y="1174750"/>
          <a:ext cx="2802682" cy="2276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Chart 15"/>
          <p:cNvGraphicFramePr/>
          <p:nvPr>
            <p:extLst>
              <p:ext uri="{D42A27DB-BD31-4B8C-83A1-F6EECF244321}">
                <p14:modId xmlns:p14="http://schemas.microsoft.com/office/powerpoint/2010/main" val="2617336279"/>
              </p:ext>
            </p:extLst>
          </p:nvPr>
        </p:nvGraphicFramePr>
        <p:xfrm>
          <a:off x="3164565" y="1174750"/>
          <a:ext cx="2807208" cy="2276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" name="Chart 16"/>
          <p:cNvGraphicFramePr/>
          <p:nvPr>
            <p:extLst>
              <p:ext uri="{D42A27DB-BD31-4B8C-83A1-F6EECF244321}">
                <p14:modId xmlns:p14="http://schemas.microsoft.com/office/powerpoint/2010/main" val="968218411"/>
              </p:ext>
            </p:extLst>
          </p:nvPr>
        </p:nvGraphicFramePr>
        <p:xfrm>
          <a:off x="6087788" y="1174750"/>
          <a:ext cx="2807208" cy="2276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472753434"/>
              </p:ext>
            </p:extLst>
          </p:nvPr>
        </p:nvGraphicFramePr>
        <p:xfrm>
          <a:off x="250512" y="3906454"/>
          <a:ext cx="4245288" cy="2103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9" name="Chart 18"/>
          <p:cNvGraphicFramePr/>
          <p:nvPr>
            <p:extLst>
              <p:ext uri="{D42A27DB-BD31-4B8C-83A1-F6EECF244321}">
                <p14:modId xmlns:p14="http://schemas.microsoft.com/office/powerpoint/2010/main" val="497787061"/>
              </p:ext>
            </p:extLst>
          </p:nvPr>
        </p:nvGraphicFramePr>
        <p:xfrm>
          <a:off x="4648201" y="3906454"/>
          <a:ext cx="4245958" cy="2103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ounded Rectangle 21"/>
          <p:cNvSpPr/>
          <p:nvPr/>
        </p:nvSpPr>
        <p:spPr bwMode="auto">
          <a:xfrm>
            <a:off x="2057400" y="2743200"/>
            <a:ext cx="381000" cy="708406"/>
          </a:xfrm>
          <a:prstGeom prst="roundRect">
            <a:avLst/>
          </a:prstGeom>
          <a:noFill/>
          <a:ln w="2857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2390" tIns="72390" rIns="72390" bIns="723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Rounded Rectangle 22"/>
          <p:cNvSpPr/>
          <p:nvPr/>
        </p:nvSpPr>
        <p:spPr bwMode="auto">
          <a:xfrm>
            <a:off x="3058881" y="5387594"/>
            <a:ext cx="381000" cy="708406"/>
          </a:xfrm>
          <a:prstGeom prst="roundRect">
            <a:avLst/>
          </a:prstGeom>
          <a:noFill/>
          <a:ln w="2857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2390" tIns="72390" rIns="72390" bIns="723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7480921" y="5387594"/>
            <a:ext cx="381000" cy="708406"/>
          </a:xfrm>
          <a:prstGeom prst="roundRect">
            <a:avLst/>
          </a:prstGeom>
          <a:noFill/>
          <a:ln w="2857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2390" tIns="72390" rIns="72390" bIns="723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Rounded Rectangle 24"/>
          <p:cNvSpPr/>
          <p:nvPr/>
        </p:nvSpPr>
        <p:spPr bwMode="auto">
          <a:xfrm>
            <a:off x="7924800" y="2756286"/>
            <a:ext cx="381000" cy="708406"/>
          </a:xfrm>
          <a:prstGeom prst="roundRect">
            <a:avLst/>
          </a:prstGeom>
          <a:noFill/>
          <a:ln w="2857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2390" tIns="72390" rIns="72390" bIns="7239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32132" y="6607898"/>
            <a:ext cx="3858867" cy="1046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IN" sz="800" dirty="0"/>
              <a:t>* The </a:t>
            </a:r>
            <a:r>
              <a:rPr lang="en-IN" sz="800" dirty="0" smtClean="0"/>
              <a:t>rating is on a scale of 5 and the time frame of the analysis is from 2009 to 2015</a:t>
            </a:r>
          </a:p>
        </p:txBody>
      </p:sp>
    </p:spTree>
    <p:extLst>
      <p:ext uri="{BB962C8B-B14F-4D97-AF65-F5344CB8AC3E}">
        <p14:creationId xmlns:p14="http://schemas.microsoft.com/office/powerpoint/2010/main" val="3041550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auto">
          <a:xfrm>
            <a:off x="352425" y="995363"/>
            <a:ext cx="8410575" cy="516731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rot="0" spcFirstLastPara="0" vertOverflow="overflow" horzOverflow="overflow" vert="horz" wrap="none" lIns="72390" tIns="72390" rIns="72390" bIns="723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</a:pPr>
            <a:endParaRPr lang="en-US" sz="1000" dirty="0" err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B05438-E936-4F6C-B478-3D8A1C6FD634}" type="slidenum">
              <a:rPr lang="en-US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734811" y="304800"/>
            <a:ext cx="7924800" cy="338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IN" sz="2200" b="1" baseline="0" dirty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7F7F7F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7F7F7F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7F7F7F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7F7F7F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b="0" kern="0" dirty="0" smtClean="0">
                <a:solidFill>
                  <a:srgbClr val="CCCCCC">
                    <a:lumMod val="50000"/>
                  </a:srgbClr>
                </a:solidFill>
              </a:rPr>
              <a:t>External Benchmark*</a:t>
            </a:r>
            <a:endParaRPr lang="en-US" b="0" kern="0" dirty="0">
              <a:solidFill>
                <a:srgbClr val="CCCCCC">
                  <a:lumMod val="50000"/>
                </a:srgbClr>
              </a:solidFill>
            </a:endParaRPr>
          </a:p>
        </p:txBody>
      </p:sp>
      <p:pic>
        <p:nvPicPr>
          <p:cNvPr id="12493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44" b="18274"/>
          <a:stretch/>
        </p:blipFill>
        <p:spPr bwMode="auto">
          <a:xfrm>
            <a:off x="455814" y="1073194"/>
            <a:ext cx="8203797" cy="5011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05752" y="6590313"/>
            <a:ext cx="8503920" cy="13849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 anchorCtr="0">
            <a:spAutoFit/>
          </a:bodyPr>
          <a:lstStyle>
            <a:defPPr>
              <a:defRPr lang="en-US"/>
            </a:defPPr>
            <a:lvl1pPr marL="0" indent="0" algn="l" eaLnBrk="0" hangingPunct="0">
              <a:spcBef>
                <a:spcPts val="400"/>
              </a:spcBef>
              <a:spcAft>
                <a:spcPts val="200"/>
              </a:spcAft>
              <a:buClr>
                <a:srgbClr val="E31837"/>
              </a:buClr>
              <a:buNone/>
              <a:defRPr sz="900" b="0" i="1" kern="0">
                <a:latin typeface="+mj-lt"/>
                <a:cs typeface="Arial" panose="020B0604020202020204" pitchFamily="34" charset="0"/>
              </a:defRPr>
            </a:lvl1pPr>
            <a:lvl2pPr marL="454025" lvl="1" indent="-184150" algn="l" eaLnBrk="0" hangingPunct="0">
              <a:spcBef>
                <a:spcPts val="4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–"/>
              <a:defRPr sz="1100" kern="0">
                <a:latin typeface="+mj-lt"/>
                <a:cs typeface="Arial" panose="020B0604020202020204" pitchFamily="34" charset="0"/>
              </a:defRPr>
            </a:lvl2pPr>
            <a:lvl3pPr marL="538163" indent="-177800" algn="l" eaLnBrk="0" hangingPunct="0">
              <a:spcBef>
                <a:spcPts val="300"/>
              </a:spcBef>
              <a:buFont typeface="Arial" pitchFamily="34" charset="0"/>
              <a:buChar char="–"/>
              <a:defRPr sz="1400">
                <a:latin typeface="+mn-lt"/>
              </a:defRPr>
            </a:lvl3pPr>
            <a:lvl4pPr marL="717550" indent="-177800" algn="l" eaLnBrk="0" hangingPunct="0">
              <a:spcBef>
                <a:spcPts val="300"/>
              </a:spcBef>
              <a:buFont typeface="Arial" pitchFamily="34" charset="0"/>
              <a:buChar char="–"/>
              <a:defRPr sz="1400">
                <a:latin typeface="+mn-lt"/>
              </a:defRPr>
            </a:lvl4pPr>
            <a:lvl5pPr marL="896938" indent="-177800" algn="l" eaLnBrk="0" hangingPunct="0">
              <a:spcBef>
                <a:spcPts val="300"/>
              </a:spcBef>
              <a:buFont typeface="Arial" pitchFamily="34" charset="0"/>
              <a:buChar char="–"/>
              <a:defRPr sz="1400">
                <a:latin typeface="+mn-lt"/>
              </a:defRPr>
            </a:lvl5pPr>
            <a:lvl6pPr marL="1354138" indent="-1778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>
                <a:latin typeface="+mn-lt"/>
              </a:defRPr>
            </a:lvl6pPr>
            <a:lvl7pPr marL="1811338" indent="-1778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>
                <a:latin typeface="+mn-lt"/>
              </a:defRPr>
            </a:lvl7pPr>
            <a:lvl8pPr marL="2268538" indent="-1778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>
                <a:latin typeface="+mn-lt"/>
              </a:defRPr>
            </a:lvl8pPr>
            <a:lvl9pPr marL="2725738" indent="-1778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>
                <a:latin typeface="+mn-lt"/>
              </a:defRPr>
            </a:lvl9pPr>
          </a:lstStyle>
          <a:p>
            <a:r>
              <a:rPr lang="en-US" i="0" dirty="0"/>
              <a:t>*The numbers in the External Benchmark slides were extracted directly from updated Glassdoor website and thus may vary with the numbers presented in the earlier slides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5125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8616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ctr">
            <a:normAutofit/>
          </a:bodyPr>
          <a:lstStyle/>
          <a:p>
            <a:r>
              <a:rPr lang="en-US" sz="3600" dirty="0" smtClean="0"/>
              <a:t>Appendix</a:t>
            </a:r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1009-0F2E-4982-A409-76E1796766C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817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B05438-E936-4F6C-B478-3D8A1C6FD634}" type="slidenum">
              <a:rPr lang="en-US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838200" y="304800"/>
            <a:ext cx="7070560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b="0" dirty="0" smtClean="0">
                <a:solidFill>
                  <a:schemeClr val="bg2">
                    <a:lumMod val="50000"/>
                  </a:schemeClr>
                </a:solidFill>
              </a:rPr>
              <a:t>Total Page Reviews with competitors</a:t>
            </a:r>
            <a:endParaRPr lang="en-US" b="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5125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9026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95"/>
          <a:stretch/>
        </p:blipFill>
        <p:spPr bwMode="auto">
          <a:xfrm>
            <a:off x="152401" y="1300151"/>
            <a:ext cx="8932862" cy="4517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5607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B05438-E936-4F6C-B478-3D8A1C6FD634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pic>
        <p:nvPicPr>
          <p:cNvPr id="12800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05" b="17075"/>
          <a:stretch/>
        </p:blipFill>
        <p:spPr bwMode="auto">
          <a:xfrm>
            <a:off x="351732" y="990600"/>
            <a:ext cx="8746231" cy="495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838200" y="304800"/>
            <a:ext cx="7070560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b="0" dirty="0" smtClean="0">
                <a:solidFill>
                  <a:schemeClr val="bg2">
                    <a:lumMod val="50000"/>
                  </a:schemeClr>
                </a:solidFill>
              </a:rPr>
              <a:t>New CEO Approval Trend after Sep 2015</a:t>
            </a:r>
            <a:endParaRPr lang="en-US" b="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5125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7268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8200" y="304800"/>
            <a:ext cx="7070560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b="0" dirty="0">
                <a:solidFill>
                  <a:schemeClr val="bg2">
                    <a:lumMod val="50000"/>
                  </a:schemeClr>
                </a:solidFill>
              </a:rPr>
              <a:t>Rating and Outlook Across </a:t>
            </a:r>
            <a:r>
              <a:rPr lang="en-US" b="0" dirty="0" smtClean="0">
                <a:solidFill>
                  <a:schemeClr val="bg2">
                    <a:lumMod val="50000"/>
                  </a:schemeClr>
                </a:solidFill>
              </a:rPr>
              <a:t>Locations </a:t>
            </a:r>
            <a:endParaRPr lang="en-US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D51F4-68C8-4EB1-9F65-FF42CDFADB18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3" name="Round Same Side Corner Rectangle 12"/>
          <p:cNvSpPr/>
          <p:nvPr/>
        </p:nvSpPr>
        <p:spPr>
          <a:xfrm>
            <a:off x="352425" y="1004886"/>
            <a:ext cx="4113868" cy="320040"/>
          </a:xfrm>
          <a:prstGeom prst="round2SameRect">
            <a:avLst/>
          </a:prstGeom>
          <a:solidFill>
            <a:srgbClr val="E31837"/>
          </a:solidFill>
          <a:ln w="63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# Reviews and Avg. </a:t>
            </a:r>
            <a:r>
              <a:rPr lang="en-US" sz="1600" b="1" dirty="0" smtClean="0">
                <a:solidFill>
                  <a:srgbClr val="FFFFFF"/>
                </a:solidFill>
              </a:rPr>
              <a:t>Rating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14" name="Round Same Side Corner Rectangle 13"/>
          <p:cNvSpPr/>
          <p:nvPr/>
        </p:nvSpPr>
        <p:spPr>
          <a:xfrm>
            <a:off x="4649132" y="1004886"/>
            <a:ext cx="4113868" cy="320040"/>
          </a:xfrm>
          <a:prstGeom prst="round2SameRect">
            <a:avLst/>
          </a:prstGeom>
          <a:solidFill>
            <a:srgbClr val="E31837"/>
          </a:solidFill>
          <a:ln w="63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% Reviews </a:t>
            </a:r>
            <a:r>
              <a:rPr lang="en-US" sz="1600" b="1" dirty="0" smtClean="0">
                <a:solidFill>
                  <a:srgbClr val="FFFFFF"/>
                </a:solidFill>
              </a:rPr>
              <a:t>with Positive Outlook</a:t>
            </a:r>
            <a:endParaRPr lang="en-US" sz="1600" b="1" dirty="0">
              <a:solidFill>
                <a:srgbClr val="FFFFFF"/>
              </a:solidFill>
            </a:endParaRPr>
          </a:p>
        </p:txBody>
      </p:sp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4057443162"/>
              </p:ext>
            </p:extLst>
          </p:nvPr>
        </p:nvGraphicFramePr>
        <p:xfrm>
          <a:off x="352425" y="1324926"/>
          <a:ext cx="4113868" cy="37614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508416576"/>
              </p:ext>
            </p:extLst>
          </p:nvPr>
        </p:nvGraphicFramePr>
        <p:xfrm>
          <a:off x="4649132" y="1324926"/>
          <a:ext cx="4113868" cy="37614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350413" y="5488569"/>
            <a:ext cx="8412586" cy="9020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33363" indent="-233363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>
                <a:latin typeface="+mj-lt"/>
              </a:defRPr>
            </a:lvl1pPr>
          </a:lstStyle>
          <a:p>
            <a:r>
              <a:rPr lang="en-US" dirty="0"/>
              <a:t>People in </a:t>
            </a:r>
            <a:r>
              <a:rPr lang="en-US" dirty="0" smtClean="0"/>
              <a:t>Andhra Pradesh and England </a:t>
            </a:r>
            <a:r>
              <a:rPr lang="en-US" dirty="0"/>
              <a:t>seems to carry a marginally higher positive outlook towards the business followed by people in </a:t>
            </a:r>
            <a:r>
              <a:rPr lang="en-US" dirty="0" smtClean="0"/>
              <a:t>Haryana and New York State</a:t>
            </a:r>
            <a:endParaRPr lang="en-US" dirty="0"/>
          </a:p>
        </p:txBody>
      </p:sp>
      <p:sp>
        <p:nvSpPr>
          <p:cNvPr id="30" name="Round Same Side Corner Rectangle 29"/>
          <p:cNvSpPr/>
          <p:nvPr/>
        </p:nvSpPr>
        <p:spPr>
          <a:xfrm>
            <a:off x="350413" y="5168529"/>
            <a:ext cx="1502235" cy="320040"/>
          </a:xfrm>
          <a:prstGeom prst="round2SameRect">
            <a:avLst/>
          </a:prstGeom>
          <a:solidFill>
            <a:srgbClr val="E3183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rgbClr val="FFFFFF"/>
                </a:solidFill>
              </a:rPr>
              <a:t>Key Points</a:t>
            </a: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6396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04800"/>
            <a:ext cx="8525255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b="0" dirty="0">
                <a:solidFill>
                  <a:schemeClr val="bg2">
                    <a:lumMod val="50000"/>
                  </a:schemeClr>
                </a:solidFill>
              </a:rPr>
              <a:t> Pros </a:t>
            </a:r>
            <a:r>
              <a:rPr lang="en-US" b="0" dirty="0" smtClean="0">
                <a:solidFill>
                  <a:schemeClr val="bg2">
                    <a:lumMod val="50000"/>
                  </a:schemeClr>
                </a:solidFill>
              </a:rPr>
              <a:t>and </a:t>
            </a:r>
            <a:r>
              <a:rPr lang="en-US" b="0" dirty="0">
                <a:solidFill>
                  <a:schemeClr val="bg2">
                    <a:lumMod val="50000"/>
                  </a:schemeClr>
                </a:solidFill>
              </a:rPr>
              <a:t>Cons across Different </a:t>
            </a:r>
            <a:r>
              <a:rPr lang="en-US" b="0" dirty="0" smtClean="0">
                <a:solidFill>
                  <a:schemeClr val="bg2">
                    <a:lumMod val="50000"/>
                  </a:schemeClr>
                </a:solidFill>
              </a:rPr>
              <a:t>Locations</a:t>
            </a:r>
            <a:endParaRPr lang="en-US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D51F4-68C8-4EB1-9F65-FF42CDFADB18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3" name="Rectangle 52"/>
          <p:cNvSpPr/>
          <p:nvPr/>
        </p:nvSpPr>
        <p:spPr>
          <a:xfrm>
            <a:off x="352424" y="1552673"/>
            <a:ext cx="1057876" cy="2103120"/>
          </a:xfrm>
          <a:prstGeom prst="rect">
            <a:avLst/>
          </a:prstGeom>
          <a:solidFill>
            <a:srgbClr val="D4ECBA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en-US" sz="1400" b="1" dirty="0" smtClean="0">
              <a:solidFill>
                <a:srgbClr val="00B050"/>
              </a:solidFill>
            </a:endParaRPr>
          </a:p>
          <a:p>
            <a:pPr algn="ctr"/>
            <a:endParaRPr lang="en-US" sz="1400" b="1" dirty="0">
              <a:solidFill>
                <a:srgbClr val="00B050"/>
              </a:solidFill>
            </a:endParaRPr>
          </a:p>
          <a:p>
            <a:pPr algn="ctr"/>
            <a:endParaRPr lang="en-US" sz="1400" b="1" dirty="0" smtClean="0">
              <a:solidFill>
                <a:srgbClr val="00B050"/>
              </a:solidFill>
            </a:endParaRPr>
          </a:p>
          <a:p>
            <a:pPr algn="ctr"/>
            <a:endParaRPr lang="en-US" sz="1400" b="1" dirty="0" smtClean="0">
              <a:solidFill>
                <a:srgbClr val="00B050"/>
              </a:solidFill>
            </a:endParaRPr>
          </a:p>
          <a:p>
            <a:pPr algn="ctr"/>
            <a:r>
              <a:rPr lang="en-US" sz="1400" b="1" dirty="0" smtClean="0">
                <a:solidFill>
                  <a:srgbClr val="00B050"/>
                </a:solidFill>
              </a:rPr>
              <a:t>Pros</a:t>
            </a:r>
            <a:endParaRPr lang="en-US" sz="1400" b="1" dirty="0">
              <a:solidFill>
                <a:srgbClr val="00B050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52424" y="3847343"/>
            <a:ext cx="1057876" cy="220191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en-US" sz="1400" b="1" dirty="0" smtClean="0">
              <a:solidFill>
                <a:schemeClr val="bg1"/>
              </a:solidFill>
            </a:endParaRPr>
          </a:p>
          <a:p>
            <a:pPr algn="ctr"/>
            <a:endParaRPr lang="en-US" sz="1400" b="1" dirty="0">
              <a:solidFill>
                <a:schemeClr val="bg1"/>
              </a:solidFill>
            </a:endParaRPr>
          </a:p>
          <a:p>
            <a:pPr algn="ctr"/>
            <a:endParaRPr lang="en-US" sz="1400" b="1" dirty="0" smtClean="0">
              <a:solidFill>
                <a:schemeClr val="bg1"/>
              </a:solidFill>
            </a:endParaRPr>
          </a:p>
          <a:p>
            <a:pPr algn="ctr"/>
            <a:endParaRPr lang="en-US" sz="1400" b="1" dirty="0" smtClean="0">
              <a:solidFill>
                <a:schemeClr val="bg1"/>
              </a:solidFill>
            </a:endParaRPr>
          </a:p>
          <a:p>
            <a:pPr algn="ctr"/>
            <a:r>
              <a:rPr lang="en-US" sz="1400" b="1" dirty="0" smtClean="0">
                <a:solidFill>
                  <a:srgbClr val="E31837"/>
                </a:solidFill>
              </a:rPr>
              <a:t>Cons</a:t>
            </a:r>
            <a:endParaRPr lang="en-US" sz="1400" b="1" dirty="0">
              <a:solidFill>
                <a:srgbClr val="E31837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52425" y="6262301"/>
            <a:ext cx="5700854" cy="1384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IN" sz="900" dirty="0"/>
              <a:t>Top </a:t>
            </a:r>
            <a:r>
              <a:rPr lang="en-IN" sz="900" dirty="0" smtClean="0"/>
              <a:t>4 </a:t>
            </a:r>
            <a:r>
              <a:rPr lang="en-IN" sz="900" dirty="0"/>
              <a:t>locations were considered for this analysis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04" t="11370" r="54645" b="19034"/>
          <a:stretch/>
        </p:blipFill>
        <p:spPr bwMode="auto">
          <a:xfrm>
            <a:off x="629754" y="2350522"/>
            <a:ext cx="503215" cy="50742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650" t="12007" r="6313" b="19971"/>
          <a:stretch/>
        </p:blipFill>
        <p:spPr bwMode="auto">
          <a:xfrm>
            <a:off x="629754" y="4698328"/>
            <a:ext cx="503215" cy="4999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ound Same Side Corner Rectangle 41"/>
          <p:cNvSpPr/>
          <p:nvPr/>
        </p:nvSpPr>
        <p:spPr>
          <a:xfrm>
            <a:off x="1478720" y="995363"/>
            <a:ext cx="1749107" cy="457200"/>
          </a:xfrm>
          <a:prstGeom prst="round2SameRect">
            <a:avLst/>
          </a:prstGeom>
          <a:solidFill>
            <a:srgbClr val="E31837"/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 anchorCtr="0">
            <a:noAutofit/>
          </a:bodyPr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New York</a:t>
            </a:r>
            <a:endParaRPr lang="en-US" sz="1600" b="1" dirty="0">
              <a:solidFill>
                <a:srgbClr val="FFFFFF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3" name="Round Same Side Corner Rectangle 42"/>
          <p:cNvSpPr/>
          <p:nvPr/>
        </p:nvSpPr>
        <p:spPr>
          <a:xfrm>
            <a:off x="3323777" y="995363"/>
            <a:ext cx="1749107" cy="457200"/>
          </a:xfrm>
          <a:prstGeom prst="round2SameRect">
            <a:avLst/>
          </a:prstGeom>
          <a:solidFill>
            <a:srgbClr val="E31837"/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 anchorCtr="0">
            <a:noAutofit/>
          </a:bodyPr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Andhra Pradesh</a:t>
            </a:r>
            <a:endParaRPr lang="en-US" sz="1600" b="1" dirty="0">
              <a:solidFill>
                <a:srgbClr val="FFFFFF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5" name="Round Same Side Corner Rectangle 44"/>
          <p:cNvSpPr/>
          <p:nvPr/>
        </p:nvSpPr>
        <p:spPr>
          <a:xfrm>
            <a:off x="5168834" y="995363"/>
            <a:ext cx="1749107" cy="457200"/>
          </a:xfrm>
          <a:prstGeom prst="round2SameRect">
            <a:avLst/>
          </a:prstGeom>
          <a:solidFill>
            <a:srgbClr val="E31837"/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 anchorCtr="0">
            <a:noAutofit/>
          </a:bodyPr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Haryana</a:t>
            </a:r>
            <a:endParaRPr lang="en-US" sz="1600" b="1" dirty="0">
              <a:solidFill>
                <a:srgbClr val="FFFFFF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1478720" y="1552673"/>
            <a:ext cx="1749107" cy="210312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3295776" y="1552673"/>
            <a:ext cx="1749107" cy="210312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142811" y="1552673"/>
            <a:ext cx="1749107" cy="210312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1478720" y="3847343"/>
            <a:ext cx="1749107" cy="2201911"/>
          </a:xfrm>
          <a:prstGeom prst="rect">
            <a:avLst/>
          </a:prstGeom>
          <a:solidFill>
            <a:srgbClr val="FFFFFF"/>
          </a:solidFill>
          <a:ln w="9525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3295776" y="3847343"/>
            <a:ext cx="1749107" cy="2201911"/>
          </a:xfrm>
          <a:prstGeom prst="rect">
            <a:avLst/>
          </a:prstGeom>
          <a:solidFill>
            <a:srgbClr val="FFFFFF"/>
          </a:solidFill>
          <a:ln w="9525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5142811" y="3847343"/>
            <a:ext cx="1749107" cy="2201911"/>
          </a:xfrm>
          <a:prstGeom prst="rect">
            <a:avLst/>
          </a:prstGeom>
          <a:solidFill>
            <a:srgbClr val="FFFFFF"/>
          </a:solidFill>
          <a:ln w="9525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41" name="Round Same Side Corner Rectangle 40"/>
          <p:cNvSpPr/>
          <p:nvPr/>
        </p:nvSpPr>
        <p:spPr>
          <a:xfrm>
            <a:off x="7013893" y="990600"/>
            <a:ext cx="1749107" cy="457200"/>
          </a:xfrm>
          <a:prstGeom prst="round2SameRect">
            <a:avLst/>
          </a:prstGeom>
          <a:solidFill>
            <a:srgbClr val="E31837"/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 anchorCtr="0">
            <a:noAutofit/>
          </a:bodyPr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England</a:t>
            </a:r>
            <a:endParaRPr lang="en-US" sz="1600" b="1" dirty="0">
              <a:solidFill>
                <a:srgbClr val="FFFFFF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7010519" y="1547910"/>
            <a:ext cx="1749107" cy="210312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010519" y="3842580"/>
            <a:ext cx="1749107" cy="2201911"/>
          </a:xfrm>
          <a:prstGeom prst="rect">
            <a:avLst/>
          </a:prstGeom>
          <a:solidFill>
            <a:srgbClr val="FFFFFF"/>
          </a:solidFill>
          <a:ln w="9525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en-US" sz="1400" b="1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177" y="1910245"/>
            <a:ext cx="1646193" cy="15187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438" y="1936296"/>
            <a:ext cx="1677784" cy="13358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8205" y="1688582"/>
            <a:ext cx="1638320" cy="183130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3606" y="1883561"/>
            <a:ext cx="1702931" cy="143181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8295" y="4105336"/>
            <a:ext cx="1684068" cy="168592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461" y="4324469"/>
            <a:ext cx="1537222" cy="123813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3054" y="4157723"/>
            <a:ext cx="1648621" cy="158115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059" y="4026980"/>
            <a:ext cx="1646430" cy="1842637"/>
          </a:xfrm>
          <a:prstGeom prst="rect">
            <a:avLst/>
          </a:prstGeom>
        </p:spPr>
      </p:pic>
      <p:pic>
        <p:nvPicPr>
          <p:cNvPr id="60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4008" y="104775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9384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B05438-E936-4F6C-B478-3D8A1C6FD634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838200" y="304800"/>
            <a:ext cx="7924800" cy="338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IN" sz="2200" b="1" baseline="0" dirty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7F7F7F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7F7F7F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7F7F7F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7F7F7F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en-US" b="0" kern="0" dirty="0" smtClean="0">
                <a:solidFill>
                  <a:schemeClr val="bg2">
                    <a:lumMod val="50000"/>
                  </a:schemeClr>
                </a:solidFill>
              </a:rPr>
              <a:t>Agenda</a:t>
            </a:r>
            <a:endParaRPr lang="en-US" b="0" kern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2425" y="988436"/>
            <a:ext cx="7848600" cy="54476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lnSpc>
                <a:spcPct val="200000"/>
              </a:lnSpc>
              <a:buClr>
                <a:schemeClr val="tx2"/>
              </a:buClr>
              <a:buFont typeface="Arial" pitchFamily="34" charset="0"/>
              <a:buChar char="•"/>
            </a:pPr>
            <a:r>
              <a:rPr lang="en-US" sz="2000" dirty="0">
                <a:latin typeface="+mj-lt"/>
              </a:rPr>
              <a:t>Executive Summary </a:t>
            </a:r>
            <a:endParaRPr lang="en-US" sz="2000" dirty="0" smtClean="0">
              <a:latin typeface="+mj-lt"/>
            </a:endParaRPr>
          </a:p>
          <a:p>
            <a:pPr marL="342900" indent="-342900" algn="l">
              <a:lnSpc>
                <a:spcPct val="200000"/>
              </a:lnSpc>
              <a:buClr>
                <a:schemeClr val="tx2"/>
              </a:buClr>
              <a:buFont typeface="Arial" pitchFamily="34" charset="0"/>
              <a:buChar char="•"/>
            </a:pPr>
            <a:r>
              <a:rPr lang="en-US" sz="2000" dirty="0">
                <a:latin typeface="+mj-lt"/>
              </a:rPr>
              <a:t>Methodology</a:t>
            </a:r>
          </a:p>
          <a:p>
            <a:pPr marL="342900" indent="-342900" algn="l">
              <a:lnSpc>
                <a:spcPct val="200000"/>
              </a:lnSpc>
              <a:buClr>
                <a:schemeClr val="tx2"/>
              </a:buClr>
              <a:buFont typeface="Arial" pitchFamily="34" charset="0"/>
              <a:buChar char="•"/>
            </a:pPr>
            <a:r>
              <a:rPr lang="en-US" sz="2000" dirty="0" smtClean="0">
                <a:latin typeface="+mj-lt"/>
              </a:rPr>
              <a:t>Overview</a:t>
            </a:r>
          </a:p>
          <a:p>
            <a:pPr marL="342900" indent="-342900" algn="l">
              <a:lnSpc>
                <a:spcPct val="200000"/>
              </a:lnSpc>
              <a:buClr>
                <a:schemeClr val="tx2"/>
              </a:buClr>
              <a:buFont typeface="Arial" pitchFamily="34" charset="0"/>
              <a:buChar char="•"/>
            </a:pPr>
            <a:r>
              <a:rPr lang="en-US" sz="2000" dirty="0" smtClean="0">
                <a:latin typeface="+mj-lt"/>
              </a:rPr>
              <a:t>Key Attributes</a:t>
            </a:r>
          </a:p>
          <a:p>
            <a:pPr marL="342900" indent="-342900" algn="l">
              <a:lnSpc>
                <a:spcPct val="200000"/>
              </a:lnSpc>
              <a:buClr>
                <a:schemeClr val="tx2"/>
              </a:buClr>
              <a:buFont typeface="Arial" pitchFamily="34" charset="0"/>
              <a:buChar char="•"/>
            </a:pPr>
            <a:r>
              <a:rPr lang="en-US" sz="2000" dirty="0" smtClean="0">
                <a:latin typeface="+mj-lt"/>
              </a:rPr>
              <a:t>Internal and External Benchmark</a:t>
            </a:r>
          </a:p>
          <a:p>
            <a:pPr marL="342900" indent="-342900" algn="l">
              <a:lnSpc>
                <a:spcPct val="200000"/>
              </a:lnSpc>
              <a:buClr>
                <a:schemeClr val="tx2"/>
              </a:buClr>
              <a:buFont typeface="Arial" pitchFamily="34" charset="0"/>
              <a:buChar char="•"/>
            </a:pPr>
            <a:r>
              <a:rPr lang="en-US" sz="2000" dirty="0" smtClean="0">
                <a:latin typeface="+mj-lt"/>
              </a:rPr>
              <a:t>Appendix</a:t>
            </a:r>
          </a:p>
          <a:p>
            <a:pPr marL="342900" indent="-342900" algn="l">
              <a:lnSpc>
                <a:spcPct val="200000"/>
              </a:lnSpc>
              <a:buClr>
                <a:schemeClr val="tx2"/>
              </a:buClr>
              <a:buFont typeface="Arial" pitchFamily="34" charset="0"/>
              <a:buChar char="•"/>
            </a:pPr>
            <a:endParaRPr lang="en-US" sz="2000" dirty="0" smtClean="0">
              <a:latin typeface="+mj-lt"/>
            </a:endParaRPr>
          </a:p>
          <a:p>
            <a:pPr marL="342900" indent="-342900" algn="l">
              <a:lnSpc>
                <a:spcPct val="200000"/>
              </a:lnSpc>
              <a:buClr>
                <a:schemeClr val="tx2"/>
              </a:buClr>
              <a:buFont typeface="Arial" pitchFamily="34" charset="0"/>
              <a:buChar char="•"/>
            </a:pPr>
            <a:endParaRPr lang="en-US" sz="2000" dirty="0" smtClean="0">
              <a:latin typeface="+mj-lt"/>
            </a:endParaRPr>
          </a:p>
        </p:txBody>
      </p:sp>
      <p:pic>
        <p:nvPicPr>
          <p:cNvPr id="12390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6420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38200" y="304800"/>
            <a:ext cx="7070560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b="0" dirty="0">
                <a:solidFill>
                  <a:schemeClr val="bg2">
                    <a:lumMod val="50000"/>
                  </a:schemeClr>
                </a:solidFill>
              </a:rPr>
              <a:t>Rating and Outlook </a:t>
            </a:r>
            <a:r>
              <a:rPr lang="en-US" b="0" dirty="0" smtClean="0">
                <a:solidFill>
                  <a:schemeClr val="bg2">
                    <a:lumMod val="50000"/>
                  </a:schemeClr>
                </a:solidFill>
              </a:rPr>
              <a:t>across positions</a:t>
            </a:r>
            <a:endParaRPr lang="en-US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D51F4-68C8-4EB1-9F65-FF42CDFADB18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50413" y="5488569"/>
            <a:ext cx="8412586" cy="9020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33363" indent="-233363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>
                <a:latin typeface="+mj-lt"/>
              </a:defRPr>
            </a:lvl1pPr>
          </a:lstStyle>
          <a:p>
            <a:r>
              <a:rPr lang="en-US" dirty="0" smtClean="0"/>
              <a:t>Analysts and Managers have </a:t>
            </a:r>
            <a:r>
              <a:rPr lang="en-US" dirty="0"/>
              <a:t>provided far more number of reviews than their peers with a higher rating. However, </a:t>
            </a:r>
            <a:r>
              <a:rPr lang="en-US" dirty="0" smtClean="0"/>
              <a:t>they seem to carry different attitude towards </a:t>
            </a:r>
            <a:r>
              <a:rPr lang="en-US" smtClean="0"/>
              <a:t>the business</a:t>
            </a:r>
            <a:endParaRPr lang="en-US" dirty="0"/>
          </a:p>
        </p:txBody>
      </p:sp>
      <p:sp>
        <p:nvSpPr>
          <p:cNvPr id="30" name="Round Same Side Corner Rectangle 29"/>
          <p:cNvSpPr/>
          <p:nvPr/>
        </p:nvSpPr>
        <p:spPr>
          <a:xfrm>
            <a:off x="350413" y="5168529"/>
            <a:ext cx="1502235" cy="320040"/>
          </a:xfrm>
          <a:prstGeom prst="round2SameRect">
            <a:avLst/>
          </a:prstGeom>
          <a:solidFill>
            <a:srgbClr val="E3183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rgbClr val="FFFFFF"/>
                </a:solidFill>
              </a:rPr>
              <a:t>Key Points</a:t>
            </a:r>
          </a:p>
        </p:txBody>
      </p:sp>
      <p:sp>
        <p:nvSpPr>
          <p:cNvPr id="31" name="Round Same Side Corner Rectangle 30"/>
          <p:cNvSpPr/>
          <p:nvPr/>
        </p:nvSpPr>
        <p:spPr>
          <a:xfrm>
            <a:off x="352425" y="1004886"/>
            <a:ext cx="4113868" cy="320040"/>
          </a:xfrm>
          <a:prstGeom prst="round2SameRect">
            <a:avLst/>
          </a:prstGeom>
          <a:solidFill>
            <a:srgbClr val="E31837"/>
          </a:solidFill>
          <a:ln w="63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# Reviews and Avg. </a:t>
            </a:r>
            <a:r>
              <a:rPr lang="en-US" sz="1600" b="1" dirty="0" smtClean="0">
                <a:solidFill>
                  <a:srgbClr val="FFFFFF"/>
                </a:solidFill>
              </a:rPr>
              <a:t>Rating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32" name="Round Same Side Corner Rectangle 31"/>
          <p:cNvSpPr/>
          <p:nvPr/>
        </p:nvSpPr>
        <p:spPr>
          <a:xfrm>
            <a:off x="4649132" y="1004886"/>
            <a:ext cx="4113868" cy="320040"/>
          </a:xfrm>
          <a:prstGeom prst="round2SameRect">
            <a:avLst/>
          </a:prstGeom>
          <a:solidFill>
            <a:srgbClr val="E31837"/>
          </a:solidFill>
          <a:ln w="63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% Reviews </a:t>
            </a:r>
            <a:r>
              <a:rPr lang="en-US" sz="1600" b="1" dirty="0" smtClean="0">
                <a:solidFill>
                  <a:srgbClr val="FFFFFF"/>
                </a:solidFill>
              </a:rPr>
              <a:t>with Positive Outlook</a:t>
            </a:r>
            <a:endParaRPr lang="en-US" sz="1600" b="1" dirty="0">
              <a:solidFill>
                <a:srgbClr val="FFFFFF"/>
              </a:solidFill>
            </a:endParaRPr>
          </a:p>
        </p:txBody>
      </p:sp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369743926"/>
              </p:ext>
            </p:extLst>
          </p:nvPr>
        </p:nvGraphicFramePr>
        <p:xfrm>
          <a:off x="352425" y="1324927"/>
          <a:ext cx="4113868" cy="3743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2801295981"/>
              </p:ext>
            </p:extLst>
          </p:nvPr>
        </p:nvGraphicFramePr>
        <p:xfrm>
          <a:off x="4654169" y="1324927"/>
          <a:ext cx="4113868" cy="3743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8362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ound Same Side Corner Rectangle 24"/>
          <p:cNvSpPr/>
          <p:nvPr/>
        </p:nvSpPr>
        <p:spPr>
          <a:xfrm>
            <a:off x="352425" y="1004886"/>
            <a:ext cx="8410575" cy="320040"/>
          </a:xfrm>
          <a:prstGeom prst="round2SameRect">
            <a:avLst/>
          </a:prstGeom>
          <a:solidFill>
            <a:srgbClr val="E31837"/>
          </a:solidFill>
          <a:ln w="63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rgbClr val="FFFFFF"/>
                </a:solidFill>
              </a:rPr>
              <a:t>% Rating Distribu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8200" y="304800"/>
            <a:ext cx="7070560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b="0" dirty="0">
                <a:solidFill>
                  <a:schemeClr val="bg2">
                    <a:lumMod val="50000"/>
                  </a:schemeClr>
                </a:solidFill>
              </a:rPr>
              <a:t>Rating Distribution among the Key Attributes –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D51F4-68C8-4EB1-9F65-FF42CDFADB18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50413" y="5488569"/>
            <a:ext cx="8412586" cy="9020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33363" indent="-233363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>
                <a:latin typeface="+mj-lt"/>
              </a:defRPr>
            </a:lvl1pPr>
          </a:lstStyle>
          <a:p>
            <a:r>
              <a:rPr lang="en-US" dirty="0" smtClean="0"/>
              <a:t>Work Life Balance </a:t>
            </a:r>
            <a:r>
              <a:rPr lang="en-US" dirty="0"/>
              <a:t>and Compensation &amp; Benefits seem to be the highest rated attribut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52614" y="6595831"/>
            <a:ext cx="3840480" cy="182880"/>
          </a:xfrm>
          <a:prstGeom prst="roundRect">
            <a:avLst/>
          </a:prstGeom>
          <a:noFill/>
          <a:ln>
            <a:solidFill>
              <a:schemeClr val="tx2">
                <a:lumMod val="75000"/>
                <a:alpha val="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>
              <a:defRPr sz="800"/>
            </a:lvl1pPr>
          </a:lstStyle>
          <a:p>
            <a:pPr algn="l"/>
            <a:r>
              <a:rPr lang="en-US" dirty="0" smtClean="0"/>
              <a:t>* 3 – Mid , &lt;3 – Low , &gt;3 – High  </a:t>
            </a:r>
            <a:endParaRPr lang="en-US" dirty="0"/>
          </a:p>
        </p:txBody>
      </p:sp>
      <p:sp>
        <p:nvSpPr>
          <p:cNvPr id="26" name="Round Same Side Corner Rectangle 25"/>
          <p:cNvSpPr/>
          <p:nvPr/>
        </p:nvSpPr>
        <p:spPr>
          <a:xfrm>
            <a:off x="350413" y="5168529"/>
            <a:ext cx="1502235" cy="320040"/>
          </a:xfrm>
          <a:prstGeom prst="round2SameRect">
            <a:avLst/>
          </a:prstGeom>
          <a:solidFill>
            <a:srgbClr val="E3183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rgbClr val="FFFFFF"/>
                </a:solidFill>
              </a:rPr>
              <a:t>Key Points</a:t>
            </a:r>
          </a:p>
        </p:txBody>
      </p:sp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1688828385"/>
              </p:ext>
            </p:extLst>
          </p:nvPr>
        </p:nvGraphicFramePr>
        <p:xfrm>
          <a:off x="352425" y="1324926"/>
          <a:ext cx="8410575" cy="37439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2590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ound Same Side Corner Rectangle 23"/>
          <p:cNvSpPr/>
          <p:nvPr/>
        </p:nvSpPr>
        <p:spPr>
          <a:xfrm>
            <a:off x="352424" y="1004886"/>
            <a:ext cx="8410575" cy="320040"/>
          </a:xfrm>
          <a:prstGeom prst="round2SameRect">
            <a:avLst/>
          </a:prstGeom>
          <a:solidFill>
            <a:srgbClr val="E31837"/>
          </a:solidFill>
          <a:ln w="63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rgbClr val="FFFFFF"/>
                </a:solidFill>
              </a:rPr>
              <a:t>Key Attribute Rating distribution across designa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8200" y="304800"/>
            <a:ext cx="7070560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b="0" dirty="0">
                <a:solidFill>
                  <a:schemeClr val="bg2">
                    <a:lumMod val="50000"/>
                  </a:schemeClr>
                </a:solidFill>
              </a:rPr>
              <a:t>Rating Distribution among the Key Attributes – 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D51F4-68C8-4EB1-9F65-FF42CDFADB18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50413" y="5488569"/>
            <a:ext cx="8412586" cy="9020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33363" indent="-233363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>
                <a:latin typeface="+mj-lt"/>
              </a:defRPr>
            </a:lvl1pPr>
          </a:lstStyle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/>
              <a:t>Analysts have highly rated the attributes </a:t>
            </a:r>
            <a:r>
              <a:rPr lang="en-US" dirty="0" smtClean="0"/>
              <a:t>such as </a:t>
            </a:r>
            <a:r>
              <a:rPr lang="en-US" smtClean="0"/>
              <a:t>Compensation &amp; Benefits </a:t>
            </a:r>
            <a:r>
              <a:rPr lang="en-US" dirty="0"/>
              <a:t>and Work Life Balance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/>
              <a:t>Senior Analysts have rated </a:t>
            </a:r>
            <a:r>
              <a:rPr lang="en-US" dirty="0" smtClean="0"/>
              <a:t>Culture Values </a:t>
            </a:r>
            <a:r>
              <a:rPr lang="en-US" dirty="0"/>
              <a:t>and </a:t>
            </a:r>
            <a:r>
              <a:rPr lang="en-US" dirty="0" smtClean="0"/>
              <a:t>Senior Leadership least </a:t>
            </a:r>
            <a:r>
              <a:rPr lang="en-US" dirty="0"/>
              <a:t>among the </a:t>
            </a:r>
            <a:r>
              <a:rPr lang="en-US" dirty="0" smtClean="0"/>
              <a:t>other attributes</a:t>
            </a:r>
            <a:endParaRPr lang="en-US" dirty="0"/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 smtClean="0"/>
              <a:t>Leadership has </a:t>
            </a:r>
            <a:r>
              <a:rPr lang="en-US" dirty="0"/>
              <a:t>rated </a:t>
            </a:r>
            <a:r>
              <a:rPr lang="en-US" dirty="0" smtClean="0"/>
              <a:t>all the attributes higher compared to Managers except for Compensation </a:t>
            </a:r>
            <a:r>
              <a:rPr lang="en-US" dirty="0"/>
              <a:t>&amp; Benefits and </a:t>
            </a:r>
            <a:r>
              <a:rPr lang="en-US" dirty="0" smtClean="0"/>
              <a:t>Culture Values</a:t>
            </a:r>
            <a:endParaRPr lang="en-US" dirty="0"/>
          </a:p>
        </p:txBody>
      </p:sp>
      <p:sp>
        <p:nvSpPr>
          <p:cNvPr id="23" name="Round Same Side Corner Rectangle 22"/>
          <p:cNvSpPr/>
          <p:nvPr/>
        </p:nvSpPr>
        <p:spPr>
          <a:xfrm>
            <a:off x="350413" y="5168529"/>
            <a:ext cx="1502235" cy="320040"/>
          </a:xfrm>
          <a:prstGeom prst="round2SameRect">
            <a:avLst/>
          </a:prstGeom>
          <a:solidFill>
            <a:srgbClr val="E3183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rgbClr val="FFFFFF"/>
                </a:solidFill>
              </a:rPr>
              <a:t>Key Points</a:t>
            </a:r>
          </a:p>
        </p:txBody>
      </p:sp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2729099593"/>
              </p:ext>
            </p:extLst>
          </p:nvPr>
        </p:nvGraphicFramePr>
        <p:xfrm>
          <a:off x="352425" y="1324926"/>
          <a:ext cx="8410575" cy="37439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3601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ound Same Side Corner Rectangle 25"/>
          <p:cNvSpPr/>
          <p:nvPr/>
        </p:nvSpPr>
        <p:spPr>
          <a:xfrm>
            <a:off x="352425" y="1004886"/>
            <a:ext cx="4113868" cy="320040"/>
          </a:xfrm>
          <a:prstGeom prst="round2SameRect">
            <a:avLst/>
          </a:prstGeom>
          <a:solidFill>
            <a:srgbClr val="E31837"/>
          </a:solidFill>
          <a:ln w="63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# Reviews and Avg. </a:t>
            </a:r>
            <a:r>
              <a:rPr lang="en-US" sz="1600" b="1" dirty="0" smtClean="0">
                <a:solidFill>
                  <a:srgbClr val="FFFFFF"/>
                </a:solidFill>
              </a:rPr>
              <a:t>Rating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7" name="Round Same Side Corner Rectangle 26"/>
          <p:cNvSpPr/>
          <p:nvPr/>
        </p:nvSpPr>
        <p:spPr>
          <a:xfrm>
            <a:off x="4639607" y="1004886"/>
            <a:ext cx="4113868" cy="320040"/>
          </a:xfrm>
          <a:prstGeom prst="round2SameRect">
            <a:avLst/>
          </a:prstGeom>
          <a:solidFill>
            <a:srgbClr val="E31837"/>
          </a:solidFill>
          <a:ln w="63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% Reviews </a:t>
            </a:r>
            <a:r>
              <a:rPr lang="en-US" sz="1600" b="1" dirty="0" smtClean="0">
                <a:solidFill>
                  <a:srgbClr val="FFFFFF"/>
                </a:solidFill>
              </a:rPr>
              <a:t>with Positive Outlook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8200" y="304800"/>
            <a:ext cx="7070560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b="0" dirty="0">
                <a:solidFill>
                  <a:schemeClr val="bg2">
                    <a:lumMod val="50000"/>
                  </a:schemeClr>
                </a:solidFill>
              </a:rPr>
              <a:t>Rating and Outlook across Employee </a:t>
            </a:r>
            <a:r>
              <a:rPr lang="en-US" b="0" dirty="0" smtClean="0">
                <a:solidFill>
                  <a:schemeClr val="bg2">
                    <a:lumMod val="50000"/>
                  </a:schemeClr>
                </a:solidFill>
              </a:rPr>
              <a:t>Status</a:t>
            </a:r>
            <a:endParaRPr lang="en-US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D51F4-68C8-4EB1-9F65-FF42CDFADB18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50413" y="5488569"/>
            <a:ext cx="8412586" cy="9020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33363" indent="-233363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>
                <a:latin typeface="+mj-lt"/>
              </a:defRPr>
            </a:lvl1pPr>
          </a:lstStyle>
          <a:p>
            <a:r>
              <a:rPr lang="en-US" dirty="0"/>
              <a:t>Current employees seem to have a more positive outlook towards the </a:t>
            </a:r>
            <a:r>
              <a:rPr lang="en-US" dirty="0" smtClean="0"/>
              <a:t>business and this is also getting reflected in their ratings to business</a:t>
            </a:r>
            <a:endParaRPr lang="en-US" dirty="0"/>
          </a:p>
        </p:txBody>
      </p:sp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376656999"/>
              </p:ext>
            </p:extLst>
          </p:nvPr>
        </p:nvGraphicFramePr>
        <p:xfrm>
          <a:off x="352425" y="1324927"/>
          <a:ext cx="4113868" cy="3743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15311779"/>
              </p:ext>
            </p:extLst>
          </p:nvPr>
        </p:nvGraphicFramePr>
        <p:xfrm>
          <a:off x="4644644" y="1324927"/>
          <a:ext cx="4113868" cy="3743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Round Same Side Corner Rectangle 27"/>
          <p:cNvSpPr/>
          <p:nvPr/>
        </p:nvSpPr>
        <p:spPr>
          <a:xfrm>
            <a:off x="350413" y="5168529"/>
            <a:ext cx="1502235" cy="320040"/>
          </a:xfrm>
          <a:prstGeom prst="round2SameRect">
            <a:avLst/>
          </a:prstGeom>
          <a:solidFill>
            <a:srgbClr val="E3183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rgbClr val="FFFFFF"/>
                </a:solidFill>
              </a:rPr>
              <a:t>Key Points</a:t>
            </a: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8145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04800"/>
            <a:ext cx="4276812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b="0" dirty="0" smtClean="0">
                <a:solidFill>
                  <a:schemeClr val="bg2">
                    <a:lumMod val="50000"/>
                  </a:schemeClr>
                </a:solidFill>
              </a:rPr>
              <a:t>Pros and </a:t>
            </a:r>
            <a:r>
              <a:rPr lang="en-US" b="0" dirty="0">
                <a:solidFill>
                  <a:schemeClr val="bg2">
                    <a:lumMod val="50000"/>
                  </a:schemeClr>
                </a:solidFill>
              </a:rPr>
              <a:t>Cons across Different </a:t>
            </a:r>
            <a:r>
              <a:rPr lang="en-US" b="0" dirty="0" smtClean="0">
                <a:solidFill>
                  <a:schemeClr val="bg2">
                    <a:lumMod val="50000"/>
                  </a:schemeClr>
                </a:solidFill>
              </a:rPr>
              <a:t>Status</a:t>
            </a:r>
            <a:endParaRPr lang="en-US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D51F4-68C8-4EB1-9F65-FF42CDFADB18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42" name="Round Same Side Corner Rectangle 41"/>
          <p:cNvSpPr/>
          <p:nvPr/>
        </p:nvSpPr>
        <p:spPr>
          <a:xfrm>
            <a:off x="1478719" y="995363"/>
            <a:ext cx="3501749" cy="457200"/>
          </a:xfrm>
          <a:prstGeom prst="round2SameRect">
            <a:avLst/>
          </a:prstGeom>
          <a:solidFill>
            <a:schemeClr val="accent2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 anchorCtr="0">
            <a:noAutofit/>
          </a:bodyPr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Current</a:t>
            </a:r>
            <a:endParaRPr lang="en-US" sz="1600" b="1" dirty="0">
              <a:solidFill>
                <a:srgbClr val="FFFFFF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5" name="Round Same Side Corner Rectangle 44"/>
          <p:cNvSpPr/>
          <p:nvPr/>
        </p:nvSpPr>
        <p:spPr>
          <a:xfrm>
            <a:off x="5079712" y="995363"/>
            <a:ext cx="3683288" cy="457200"/>
          </a:xfrm>
          <a:prstGeom prst="round2SameRect">
            <a:avLst/>
          </a:prstGeom>
          <a:solidFill>
            <a:schemeClr val="bg1">
              <a:lumMod val="6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 anchorCtr="0">
            <a:noAutofit/>
          </a:bodyPr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Former</a:t>
            </a:r>
            <a:endParaRPr lang="en-US" sz="1600" b="1" dirty="0">
              <a:solidFill>
                <a:srgbClr val="FFFFFF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352424" y="1552673"/>
            <a:ext cx="1057876" cy="2103120"/>
          </a:xfrm>
          <a:prstGeom prst="rect">
            <a:avLst/>
          </a:prstGeom>
          <a:solidFill>
            <a:srgbClr val="D4ECBA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en-US" sz="1400" b="1" dirty="0" smtClean="0">
              <a:solidFill>
                <a:srgbClr val="00B050"/>
              </a:solidFill>
            </a:endParaRPr>
          </a:p>
          <a:p>
            <a:pPr algn="ctr"/>
            <a:endParaRPr lang="en-US" sz="1400" b="1" dirty="0">
              <a:solidFill>
                <a:srgbClr val="00B050"/>
              </a:solidFill>
            </a:endParaRPr>
          </a:p>
          <a:p>
            <a:pPr algn="ctr"/>
            <a:endParaRPr lang="en-US" sz="1400" b="1" dirty="0" smtClean="0">
              <a:solidFill>
                <a:srgbClr val="00B050"/>
              </a:solidFill>
            </a:endParaRPr>
          </a:p>
          <a:p>
            <a:pPr algn="ctr"/>
            <a:endParaRPr lang="en-US" sz="1400" b="1" dirty="0" smtClean="0">
              <a:solidFill>
                <a:srgbClr val="00B050"/>
              </a:solidFill>
            </a:endParaRPr>
          </a:p>
          <a:p>
            <a:pPr algn="ctr"/>
            <a:r>
              <a:rPr lang="en-US" sz="1400" b="1" dirty="0" smtClean="0">
                <a:solidFill>
                  <a:srgbClr val="00B050"/>
                </a:solidFill>
              </a:rPr>
              <a:t>Pros</a:t>
            </a:r>
            <a:endParaRPr lang="en-US" sz="1400" b="1" dirty="0">
              <a:solidFill>
                <a:srgbClr val="00B050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1478719" y="1552673"/>
            <a:ext cx="3501749" cy="210312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076232" y="1552673"/>
            <a:ext cx="3683288" cy="210312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52424" y="3847343"/>
            <a:ext cx="1057876" cy="220191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en-US" sz="1400" b="1" dirty="0" smtClean="0">
              <a:solidFill>
                <a:schemeClr val="bg1"/>
              </a:solidFill>
            </a:endParaRPr>
          </a:p>
          <a:p>
            <a:pPr algn="ctr"/>
            <a:endParaRPr lang="en-US" sz="1400" b="1" dirty="0">
              <a:solidFill>
                <a:schemeClr val="bg1"/>
              </a:solidFill>
            </a:endParaRPr>
          </a:p>
          <a:p>
            <a:pPr algn="ctr"/>
            <a:endParaRPr lang="en-US" sz="1400" b="1" dirty="0" smtClean="0">
              <a:solidFill>
                <a:schemeClr val="bg1"/>
              </a:solidFill>
            </a:endParaRPr>
          </a:p>
          <a:p>
            <a:pPr algn="ctr"/>
            <a:endParaRPr lang="en-US" sz="1400" b="1" dirty="0" smtClean="0">
              <a:solidFill>
                <a:schemeClr val="bg1"/>
              </a:solidFill>
            </a:endParaRPr>
          </a:p>
          <a:p>
            <a:pPr algn="ctr"/>
            <a:r>
              <a:rPr lang="en-US" sz="1400" b="1" dirty="0" smtClean="0">
                <a:solidFill>
                  <a:srgbClr val="E31837"/>
                </a:solidFill>
              </a:rPr>
              <a:t>Cons</a:t>
            </a:r>
            <a:endParaRPr lang="en-US" sz="1400" b="1" dirty="0">
              <a:solidFill>
                <a:srgbClr val="E31837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1478719" y="3847343"/>
            <a:ext cx="3501749" cy="2201911"/>
          </a:xfrm>
          <a:prstGeom prst="rect">
            <a:avLst/>
          </a:prstGeom>
          <a:solidFill>
            <a:srgbClr val="FFFFFF"/>
          </a:solidFill>
          <a:ln w="9525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5076232" y="3847343"/>
            <a:ext cx="3683288" cy="2201911"/>
          </a:xfrm>
          <a:prstGeom prst="rect">
            <a:avLst/>
          </a:prstGeom>
          <a:solidFill>
            <a:srgbClr val="FFFFFF"/>
          </a:solidFill>
          <a:ln w="9525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/>
            <a:endParaRPr lang="en-US" sz="1400" b="1" dirty="0"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04" t="11370" r="54645" b="19034"/>
          <a:stretch/>
        </p:blipFill>
        <p:spPr bwMode="auto">
          <a:xfrm>
            <a:off x="629754" y="2350522"/>
            <a:ext cx="503215" cy="50742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650" t="12007" r="6313" b="19971"/>
          <a:stretch/>
        </p:blipFill>
        <p:spPr bwMode="auto">
          <a:xfrm>
            <a:off x="629754" y="4698328"/>
            <a:ext cx="503215" cy="4999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7630" y="1644113"/>
            <a:ext cx="3158690" cy="1879194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805" y="1644113"/>
            <a:ext cx="3162141" cy="1879194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348" y="3943410"/>
            <a:ext cx="3223972" cy="2009775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00" y="4033277"/>
            <a:ext cx="3352800" cy="1834123"/>
          </a:xfrm>
          <a:prstGeom prst="rect">
            <a:avLst/>
          </a:prstGeom>
        </p:spPr>
      </p:pic>
      <p:pic>
        <p:nvPicPr>
          <p:cNvPr id="36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7670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04800"/>
            <a:ext cx="7924800" cy="33813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2200" dirty="0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Executive Summary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7649" y="2605200"/>
            <a:ext cx="8422013" cy="3926541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 anchorCtr="0">
            <a:normAutofit/>
          </a:bodyPr>
          <a:lstStyle/>
          <a:p>
            <a:pPr marL="239713" indent="-250825">
              <a:spcBef>
                <a:spcPts val="400"/>
              </a:spcBef>
              <a:spcAft>
                <a:spcPts val="200"/>
              </a:spcAft>
            </a:pPr>
            <a:endParaRPr lang="en-US" b="1" dirty="0" smtClean="0">
              <a:latin typeface="+mj-lt"/>
              <a:cs typeface="Arial" panose="020B0604020202020204" pitchFamily="34" charset="0"/>
            </a:endParaRPr>
          </a:p>
          <a:p>
            <a:pPr marL="239713" indent="-250825">
              <a:spcBef>
                <a:spcPts val="400"/>
              </a:spcBef>
              <a:spcAft>
                <a:spcPts val="200"/>
              </a:spcAft>
            </a:pPr>
            <a:endParaRPr lang="en-US" b="1" dirty="0" smtClean="0">
              <a:latin typeface="+mj-lt"/>
              <a:cs typeface="Arial" panose="020B0604020202020204" pitchFamily="34" charset="0"/>
            </a:endParaRPr>
          </a:p>
          <a:p>
            <a:pPr marL="239713" indent="-250825">
              <a:spcBef>
                <a:spcPts val="400"/>
              </a:spcBef>
              <a:spcAft>
                <a:spcPts val="200"/>
              </a:spcAft>
            </a:pPr>
            <a:endParaRPr lang="en-US" b="1" dirty="0">
              <a:latin typeface="+mj-lt"/>
              <a:cs typeface="Arial" panose="020B0604020202020204" pitchFamily="34" charset="0"/>
            </a:endParaRPr>
          </a:p>
          <a:p>
            <a:pPr marL="239713" indent="-250825">
              <a:spcBef>
                <a:spcPts val="400"/>
              </a:spcBef>
              <a:spcAft>
                <a:spcPts val="200"/>
              </a:spcAft>
            </a:pPr>
            <a:endParaRPr lang="en-US" b="1" dirty="0">
              <a:latin typeface="+mj-lt"/>
              <a:cs typeface="Arial" panose="020B0604020202020204" pitchFamily="34" charset="0"/>
            </a:endParaRPr>
          </a:p>
          <a:p>
            <a:pPr marL="269875" lvl="1" indent="0">
              <a:spcBef>
                <a:spcPts val="400"/>
              </a:spcBef>
              <a:spcAft>
                <a:spcPts val="200"/>
              </a:spcAft>
              <a:buClr>
                <a:schemeClr val="tx2"/>
              </a:buClr>
              <a:buNone/>
            </a:pPr>
            <a:r>
              <a:rPr lang="en-US" b="1" dirty="0">
                <a:latin typeface="+mj-lt"/>
                <a:cs typeface="Arial" panose="020B0604020202020204" pitchFamily="34" charset="0"/>
              </a:rPr>
              <a:t> </a:t>
            </a:r>
            <a:r>
              <a:rPr lang="en-US" b="1" dirty="0" smtClean="0">
                <a:latin typeface="+mj-lt"/>
                <a:cs typeface="Arial" panose="020B0604020202020204" pitchFamily="34" charset="0"/>
              </a:rPr>
              <a:t>                       </a:t>
            </a:r>
            <a:r>
              <a:rPr lang="en-US" sz="1300" dirty="0" smtClean="0">
                <a:latin typeface="+mj-lt"/>
                <a:cs typeface="Arial" panose="020B0604020202020204" pitchFamily="34" charset="0"/>
              </a:rPr>
              <a:t> </a:t>
            </a:r>
          </a:p>
          <a:p>
            <a:pPr marL="269875" lvl="1" indent="0">
              <a:spcBef>
                <a:spcPts val="400"/>
              </a:spcBef>
              <a:spcAft>
                <a:spcPts val="200"/>
              </a:spcAft>
              <a:buClr>
                <a:schemeClr val="tx2"/>
              </a:buClr>
              <a:buNone/>
            </a:pPr>
            <a:r>
              <a:rPr lang="en-US" sz="1300" b="1" dirty="0">
                <a:latin typeface="+mj-lt"/>
                <a:cs typeface="Arial" panose="020B0604020202020204" pitchFamily="34" charset="0"/>
              </a:rPr>
              <a:t> </a:t>
            </a:r>
            <a:r>
              <a:rPr lang="en-US" sz="1300" b="1" dirty="0" smtClean="0">
                <a:latin typeface="+mj-lt"/>
                <a:cs typeface="Arial" panose="020B0604020202020204" pitchFamily="34" charset="0"/>
              </a:rPr>
              <a:t>                     </a:t>
            </a:r>
          </a:p>
          <a:p>
            <a:pPr marL="269875" lvl="1" indent="0">
              <a:spcBef>
                <a:spcPts val="400"/>
              </a:spcBef>
              <a:spcAft>
                <a:spcPts val="200"/>
              </a:spcAft>
              <a:buClr>
                <a:schemeClr val="tx2"/>
              </a:buClr>
              <a:buNone/>
            </a:pPr>
            <a:r>
              <a:rPr lang="en-US" sz="1300" b="1" dirty="0">
                <a:latin typeface="+mj-lt"/>
                <a:cs typeface="Arial" panose="020B0604020202020204" pitchFamily="34" charset="0"/>
              </a:rPr>
              <a:t> </a:t>
            </a:r>
            <a:r>
              <a:rPr lang="en-US" sz="1300" b="1" dirty="0" smtClean="0">
                <a:latin typeface="+mj-lt"/>
                <a:cs typeface="Arial" panose="020B0604020202020204" pitchFamily="34" charset="0"/>
              </a:rPr>
              <a:t>                    </a:t>
            </a:r>
          </a:p>
          <a:p>
            <a:pPr marL="687388" lvl="2" indent="-231775">
              <a:spcBef>
                <a:spcPts val="4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3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5" name="Pentagon 4"/>
          <p:cNvSpPr/>
          <p:nvPr/>
        </p:nvSpPr>
        <p:spPr>
          <a:xfrm>
            <a:off x="352425" y="796946"/>
            <a:ext cx="3643311" cy="396834"/>
          </a:xfrm>
          <a:prstGeom prst="homePlate">
            <a:avLst/>
          </a:prstGeom>
          <a:gradFill flip="none" rotWithShape="1">
            <a:gsLst>
              <a:gs pos="0">
                <a:srgbClr val="E31837">
                  <a:shade val="30000"/>
                  <a:satMod val="115000"/>
                </a:srgbClr>
              </a:gs>
              <a:gs pos="50000">
                <a:srgbClr val="E31837">
                  <a:shade val="67500"/>
                  <a:satMod val="115000"/>
                </a:srgbClr>
              </a:gs>
              <a:gs pos="100000">
                <a:srgbClr val="E31837">
                  <a:shade val="100000"/>
                  <a:satMod val="115000"/>
                </a:srgbClr>
              </a:gs>
            </a:gsLst>
            <a:lin ang="5400000" scaled="1"/>
            <a:tileRect/>
          </a:gradFill>
          <a:ln w="63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 anchorCtr="0"/>
          <a:lstStyle/>
          <a:p>
            <a:pPr algn="l"/>
            <a:r>
              <a:rPr lang="en-US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Objectives </a:t>
            </a:r>
          </a:p>
          <a:p>
            <a:pPr algn="l"/>
            <a:r>
              <a:rPr lang="en-US" sz="1600" dirty="0" smtClean="0">
                <a:latin typeface="+mj-lt"/>
                <a:cs typeface="Arial" panose="020B0604020202020204" pitchFamily="34" charset="0"/>
              </a:rPr>
              <a:t> </a:t>
            </a:r>
            <a:endParaRPr lang="en-US" sz="16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Pentagon 5"/>
          <p:cNvSpPr/>
          <p:nvPr/>
        </p:nvSpPr>
        <p:spPr>
          <a:xfrm>
            <a:off x="352425" y="2195666"/>
            <a:ext cx="3643311" cy="396834"/>
          </a:xfrm>
          <a:prstGeom prst="homePlate">
            <a:avLst/>
          </a:prstGeom>
          <a:gradFill flip="none" rotWithShape="1">
            <a:gsLst>
              <a:gs pos="0">
                <a:srgbClr val="E31837">
                  <a:shade val="30000"/>
                  <a:satMod val="115000"/>
                </a:srgbClr>
              </a:gs>
              <a:gs pos="50000">
                <a:srgbClr val="E31837">
                  <a:shade val="67500"/>
                  <a:satMod val="115000"/>
                </a:srgbClr>
              </a:gs>
              <a:gs pos="100000">
                <a:srgbClr val="E31837">
                  <a:shade val="100000"/>
                  <a:satMod val="115000"/>
                </a:srgbClr>
              </a:gs>
            </a:gsLst>
            <a:lin ang="5400000" scaled="1"/>
            <a:tileRect/>
          </a:gradFill>
          <a:ln w="63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 anchorCtr="0"/>
          <a:lstStyle/>
          <a:p>
            <a:pPr algn="l"/>
            <a:r>
              <a:rPr lang="en-US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Key </a:t>
            </a:r>
            <a:r>
              <a:rPr lang="en-US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Observations</a:t>
            </a:r>
            <a:endParaRPr lang="en-US" sz="2000" dirty="0">
              <a:latin typeface="+mj-lt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79087" y="1209122"/>
            <a:ext cx="8410575" cy="89380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28600" lvl="1" indent="-228600" algn="l" eaLnBrk="0" hangingPunct="0"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en-US" sz="1400" kern="0" dirty="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Gauge how CAPIQ and SNL are perceived by employees of different status, locations and positions</a:t>
            </a:r>
          </a:p>
          <a:p>
            <a:pPr marL="228600" lvl="1" indent="-228600" algn="l" eaLnBrk="0" hangingPunct="0"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en-US" sz="1400" kern="0" dirty="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Identify hidden issues that may impact employee engagement within the business  </a:t>
            </a:r>
          </a:p>
          <a:p>
            <a:pPr marL="228600" lvl="1" indent="-228600" algn="l" eaLnBrk="0" hangingPunct="0"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en-US" sz="1400" kern="0" dirty="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Establish key differentiators amongst peers</a:t>
            </a:r>
            <a:endParaRPr lang="en-US" sz="1400" kern="0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79087" y="2819400"/>
            <a:ext cx="7620000" cy="3884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AutoNum type="arabicPeriod"/>
            </a:pPr>
            <a:r>
              <a:rPr lang="en-US" sz="1600" dirty="0" smtClean="0"/>
              <a:t>Employees began posting more reviews from 2012 and the current average rating is </a:t>
            </a:r>
            <a:r>
              <a:rPr lang="en-US" sz="1600" b="1" dirty="0" smtClean="0">
                <a:solidFill>
                  <a:schemeClr val="tx2"/>
                </a:solidFill>
              </a:rPr>
              <a:t>3.3</a:t>
            </a:r>
            <a:r>
              <a:rPr lang="en-US" sz="1600" dirty="0" smtClean="0"/>
              <a:t>.</a:t>
            </a:r>
          </a:p>
          <a:p>
            <a:pPr marL="342900" indent="-342900" algn="l">
              <a:buAutoNum type="arabicPeriod"/>
            </a:pPr>
            <a:r>
              <a:rPr lang="en-US" sz="1600" dirty="0"/>
              <a:t>Major </a:t>
            </a:r>
            <a:r>
              <a:rPr lang="en-US" sz="1600" dirty="0" smtClean="0"/>
              <a:t>discussions from all locations and employee status are </a:t>
            </a:r>
            <a:r>
              <a:rPr lang="en-US" sz="1600" dirty="0"/>
              <a:t>around </a:t>
            </a:r>
            <a:r>
              <a:rPr lang="en-US" sz="1600" b="1" dirty="0" smtClean="0"/>
              <a:t>work life balance, </a:t>
            </a:r>
            <a:r>
              <a:rPr lang="en-US" sz="1600" b="1" dirty="0"/>
              <a:t>w</a:t>
            </a:r>
            <a:r>
              <a:rPr lang="en-US" sz="1600" b="1" dirty="0" smtClean="0"/>
              <a:t>ork environment and management.</a:t>
            </a:r>
          </a:p>
          <a:p>
            <a:pPr marL="342900" indent="-342900" algn="l">
              <a:buAutoNum type="arabicPeriod"/>
            </a:pPr>
            <a:r>
              <a:rPr lang="en-US" sz="1600" b="1" dirty="0" smtClean="0"/>
              <a:t>Work </a:t>
            </a:r>
            <a:r>
              <a:rPr lang="en-US" sz="1600" b="1" dirty="0"/>
              <a:t>life balance, work environment, training &amp; learning </a:t>
            </a:r>
            <a:r>
              <a:rPr lang="en-US" sz="1600" dirty="0" smtClean="0"/>
              <a:t>drive </a:t>
            </a:r>
            <a:r>
              <a:rPr lang="en-US" sz="1600" dirty="0"/>
              <a:t>people’s decision to have positive </a:t>
            </a:r>
            <a:r>
              <a:rPr lang="en-US" sz="1600" dirty="0" smtClean="0"/>
              <a:t>reviews </a:t>
            </a:r>
            <a:r>
              <a:rPr lang="en-US" sz="1600" dirty="0"/>
              <a:t>while attributes such as </a:t>
            </a:r>
            <a:r>
              <a:rPr lang="en-US" sz="1600" b="1" dirty="0"/>
              <a:t>career growth, compensation, cost cutting </a:t>
            </a:r>
            <a:r>
              <a:rPr lang="en-US" sz="1600" dirty="0" smtClean="0"/>
              <a:t>affect </a:t>
            </a:r>
            <a:r>
              <a:rPr lang="en-US" sz="1600" dirty="0"/>
              <a:t>people’s optimistic </a:t>
            </a:r>
            <a:r>
              <a:rPr lang="en-US" sz="1600" dirty="0" smtClean="0"/>
              <a:t>outlook</a:t>
            </a:r>
          </a:p>
          <a:p>
            <a:pPr marL="342900" indent="-342900" algn="l">
              <a:buFontTx/>
              <a:buAutoNum type="arabicPeriod"/>
            </a:pPr>
            <a:r>
              <a:rPr lang="en-US" sz="1600" dirty="0"/>
              <a:t>Most reviews come from </a:t>
            </a:r>
            <a:r>
              <a:rPr lang="en-US" sz="1600" b="1" dirty="0"/>
              <a:t>New York and Andhra Pradesh </a:t>
            </a:r>
            <a:r>
              <a:rPr lang="en-US" sz="1600" dirty="0"/>
              <a:t>and employees in </a:t>
            </a:r>
            <a:r>
              <a:rPr lang="en-US" sz="1600" b="1" dirty="0"/>
              <a:t>Delhi and Andhra Pradesh </a:t>
            </a:r>
            <a:r>
              <a:rPr lang="en-US" sz="1600" dirty="0"/>
              <a:t>carry highest percent of positive reviews. </a:t>
            </a:r>
          </a:p>
          <a:p>
            <a:pPr marL="342900" indent="-342900" algn="l">
              <a:buAutoNum type="arabicPeriod"/>
            </a:pPr>
            <a:r>
              <a:rPr lang="en-US" sz="1600" dirty="0" smtClean="0"/>
              <a:t>The overall rating is slightly higher than other divisions in MHFI but lower than other competitors in the industry.</a:t>
            </a:r>
          </a:p>
          <a:p>
            <a:pPr marL="342900" indent="-342900" algn="l">
              <a:buAutoNum type="arabicPeriod"/>
            </a:pPr>
            <a:endParaRPr lang="en-US" sz="1600" dirty="0" smtClean="0"/>
          </a:p>
          <a:p>
            <a:pPr marL="342900" indent="-342900" algn="l">
              <a:buAutoNum type="arabicPeriod"/>
            </a:pPr>
            <a:endParaRPr lang="en-US" sz="1600" dirty="0" smtClean="0"/>
          </a:p>
          <a:p>
            <a:pPr algn="l"/>
            <a:r>
              <a:rPr lang="en-US" sz="1600" dirty="0" smtClean="0"/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32132" y="6607898"/>
            <a:ext cx="3858867" cy="1046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IN" sz="800" dirty="0"/>
              <a:t>* The </a:t>
            </a:r>
            <a:r>
              <a:rPr lang="en-IN" sz="800" dirty="0" smtClean="0"/>
              <a:t>rating is on a scale of 5 and the time frame of the analysis is from 2009 to 2015</a:t>
            </a:r>
          </a:p>
        </p:txBody>
      </p:sp>
    </p:spTree>
    <p:extLst>
      <p:ext uri="{BB962C8B-B14F-4D97-AF65-F5344CB8AC3E}">
        <p14:creationId xmlns:p14="http://schemas.microsoft.com/office/powerpoint/2010/main" val="289181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04800"/>
            <a:ext cx="7956550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IN" sz="2200" dirty="0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Methodology</a:t>
            </a:r>
            <a:endParaRPr lang="en-US" sz="2200" dirty="0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52425" y="3323624"/>
            <a:ext cx="2667070" cy="3077176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45720" bIns="45720" rtlCol="0">
            <a:noAutofit/>
          </a:bodyPr>
          <a:lstStyle/>
          <a:p>
            <a:pPr marL="233363" indent="-233363" algn="l">
              <a:lnSpc>
                <a:spcPct val="110000"/>
              </a:lnSpc>
              <a:spcBef>
                <a:spcPts val="200"/>
              </a:spcBef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en-IN" sz="1400" dirty="0" smtClean="0">
                <a:latin typeface="+mj-lt"/>
              </a:rPr>
              <a:t>Extracted Employee review data from Glassdoor</a:t>
            </a:r>
          </a:p>
          <a:p>
            <a:pPr marL="233363" indent="-233363" algn="l">
              <a:lnSpc>
                <a:spcPct val="110000"/>
              </a:lnSpc>
              <a:spcBef>
                <a:spcPts val="200"/>
              </a:spcBef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en-IN" sz="1400" dirty="0" smtClean="0">
                <a:latin typeface="+mj-lt"/>
              </a:rPr>
              <a:t>Collected the review data across different dimensions and behavioural attributes</a:t>
            </a:r>
            <a:endParaRPr lang="en-IN" sz="1400" dirty="0">
              <a:latin typeface="+mj-lt"/>
            </a:endParaRPr>
          </a:p>
          <a:p>
            <a:pPr marL="233363" indent="-233363" algn="l">
              <a:lnSpc>
                <a:spcPct val="110000"/>
              </a:lnSpc>
              <a:spcBef>
                <a:spcPts val="200"/>
              </a:spcBef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en-IN" sz="1400" dirty="0" smtClean="0">
                <a:latin typeface="+mj-lt"/>
              </a:rPr>
              <a:t>Calculated Weighted Average rating based on designation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190467" y="3323624"/>
            <a:ext cx="2667070" cy="3077176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45720" bIns="45720" rtlCol="0">
            <a:noAutofit/>
          </a:bodyPr>
          <a:lstStyle/>
          <a:p>
            <a:pPr marL="233363" indent="-233363" algn="l">
              <a:lnSpc>
                <a:spcPct val="110000"/>
              </a:lnSpc>
              <a:spcBef>
                <a:spcPts val="200"/>
              </a:spcBef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en-IN" sz="1400" dirty="0" smtClean="0">
                <a:latin typeface="+mj-lt"/>
              </a:rPr>
              <a:t>Summarized the data across different dimensions</a:t>
            </a:r>
          </a:p>
          <a:p>
            <a:pPr marL="233363" indent="-233363" algn="l">
              <a:lnSpc>
                <a:spcPct val="110000"/>
              </a:lnSpc>
              <a:spcBef>
                <a:spcPts val="200"/>
              </a:spcBef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en-IN" sz="1400" dirty="0" smtClean="0">
                <a:latin typeface="+mj-lt"/>
              </a:rPr>
              <a:t>Prepared wordcloud and performed sentiment analysis on the employee review</a:t>
            </a:r>
          </a:p>
          <a:p>
            <a:pPr marL="233363" indent="-233363" algn="l">
              <a:lnSpc>
                <a:spcPct val="110000"/>
              </a:lnSpc>
              <a:spcBef>
                <a:spcPts val="200"/>
              </a:spcBef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en-IN" sz="1400" dirty="0">
                <a:latin typeface="+mj-lt"/>
              </a:rPr>
              <a:t>Used R for </a:t>
            </a:r>
            <a:r>
              <a:rPr lang="en-IN" sz="1400" dirty="0" smtClean="0">
                <a:latin typeface="+mj-lt"/>
              </a:rPr>
              <a:t>Performed</a:t>
            </a:r>
          </a:p>
          <a:p>
            <a:pPr marL="452438" lvl="1" indent="-233363" algn="l">
              <a:lnSpc>
                <a:spcPct val="110000"/>
              </a:lnSpc>
              <a:spcBef>
                <a:spcPts val="200"/>
              </a:spcBef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‒"/>
            </a:pPr>
            <a:r>
              <a:rPr lang="en-IN" sz="1400" dirty="0">
                <a:latin typeface="+mj-lt"/>
              </a:rPr>
              <a:t>F</a:t>
            </a:r>
            <a:r>
              <a:rPr lang="en-IN" sz="1400" dirty="0" smtClean="0">
                <a:latin typeface="+mj-lt"/>
              </a:rPr>
              <a:t>requency analysis</a:t>
            </a:r>
          </a:p>
          <a:p>
            <a:pPr marL="452438" lvl="1" indent="-233363" algn="l">
              <a:lnSpc>
                <a:spcPct val="110000"/>
              </a:lnSpc>
              <a:spcBef>
                <a:spcPts val="200"/>
              </a:spcBef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‒"/>
            </a:pPr>
            <a:r>
              <a:rPr lang="en-IN" sz="1400" dirty="0" smtClean="0">
                <a:latin typeface="+mj-lt"/>
              </a:rPr>
              <a:t>Built </a:t>
            </a:r>
            <a:r>
              <a:rPr lang="en-IN" sz="1400" dirty="0" err="1" smtClean="0">
                <a:latin typeface="+mj-lt"/>
              </a:rPr>
              <a:t>wordclouds</a:t>
            </a:r>
            <a:r>
              <a:rPr lang="en-IN" sz="1400" dirty="0" smtClean="0">
                <a:latin typeface="+mj-lt"/>
              </a:rPr>
              <a:t> across different dimension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049442" y="3323624"/>
            <a:ext cx="2667070" cy="3077176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45720" bIns="45720" rtlCol="0">
            <a:noAutofit/>
          </a:bodyPr>
          <a:lstStyle/>
          <a:p>
            <a:pPr marL="233363" indent="-233363" algn="l">
              <a:lnSpc>
                <a:spcPct val="110000"/>
              </a:lnSpc>
              <a:spcBef>
                <a:spcPts val="200"/>
              </a:spcBef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en-IN" sz="1400" dirty="0" smtClean="0">
                <a:latin typeface="+mj-lt"/>
              </a:rPr>
              <a:t>Compared positive and negative dominant themes to identify possible employee engagement roadblocks</a:t>
            </a:r>
            <a:endParaRPr lang="en-IN" sz="1400" dirty="0">
              <a:latin typeface="+mj-lt"/>
            </a:endParaRPr>
          </a:p>
          <a:p>
            <a:pPr marL="233363" indent="-233363" algn="l">
              <a:lnSpc>
                <a:spcPct val="110000"/>
              </a:lnSpc>
              <a:spcBef>
                <a:spcPts val="200"/>
              </a:spcBef>
              <a:spcAft>
                <a:spcPts val="500"/>
              </a:spcAft>
              <a:buClr>
                <a:schemeClr val="tx2"/>
              </a:buClr>
              <a:buFont typeface="Arial" pitchFamily="34" charset="0"/>
              <a:buChar char="•"/>
            </a:pPr>
            <a:r>
              <a:rPr lang="en-IN" sz="1400" dirty="0" smtClean="0">
                <a:latin typeface="+mj-lt"/>
              </a:rPr>
              <a:t>Conducted </a:t>
            </a:r>
            <a:r>
              <a:rPr lang="en-IN" sz="1400" dirty="0">
                <a:latin typeface="+mj-lt"/>
              </a:rPr>
              <a:t>a  hiring </a:t>
            </a:r>
            <a:r>
              <a:rPr lang="en-IN" sz="1400" dirty="0" smtClean="0">
                <a:latin typeface="+mj-lt"/>
              </a:rPr>
              <a:t> trend analysis.</a:t>
            </a:r>
          </a:p>
        </p:txBody>
      </p:sp>
      <p:sp>
        <p:nvSpPr>
          <p:cNvPr id="8" name="Chevron 7"/>
          <p:cNvSpPr/>
          <p:nvPr/>
        </p:nvSpPr>
        <p:spPr>
          <a:xfrm>
            <a:off x="6049442" y="991372"/>
            <a:ext cx="2827814" cy="457200"/>
          </a:xfrm>
          <a:prstGeom prst="chevron">
            <a:avLst>
              <a:gd name="adj" fmla="val 28218"/>
            </a:avLst>
          </a:prstGeom>
          <a:solidFill>
            <a:schemeClr val="tx2"/>
          </a:solidFill>
          <a:ln w="63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 smtClean="0">
                <a:solidFill>
                  <a:srgbClr val="FFFFFF"/>
                </a:solidFill>
                <a:latin typeface="+mj-lt"/>
              </a:rPr>
              <a:t>Insights</a:t>
            </a:r>
            <a:endParaRPr lang="en-IN" sz="1600" b="1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9" name="Picture 8"/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9442" y="1503235"/>
            <a:ext cx="2667070" cy="170992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Chevron 9"/>
          <p:cNvSpPr/>
          <p:nvPr/>
        </p:nvSpPr>
        <p:spPr>
          <a:xfrm>
            <a:off x="3185783" y="991372"/>
            <a:ext cx="2827814" cy="457200"/>
          </a:xfrm>
          <a:prstGeom prst="chevron">
            <a:avLst>
              <a:gd name="adj" fmla="val 28218"/>
            </a:avLst>
          </a:prstGeom>
          <a:solidFill>
            <a:schemeClr val="tx2">
              <a:lumMod val="40000"/>
              <a:lumOff val="60000"/>
            </a:schemeClr>
          </a:solidFill>
          <a:ln w="63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tx1"/>
                </a:solidFill>
                <a:latin typeface="+mj-lt"/>
              </a:rPr>
              <a:t>Data Analysis</a:t>
            </a:r>
          </a:p>
        </p:txBody>
      </p:sp>
      <p:sp>
        <p:nvSpPr>
          <p:cNvPr id="11" name="Pentagon 10"/>
          <p:cNvSpPr/>
          <p:nvPr/>
        </p:nvSpPr>
        <p:spPr>
          <a:xfrm>
            <a:off x="352425" y="991372"/>
            <a:ext cx="2827814" cy="457200"/>
          </a:xfrm>
          <a:prstGeom prst="homePlate">
            <a:avLst>
              <a:gd name="adj" fmla="val 30198"/>
            </a:avLst>
          </a:prstGeom>
          <a:solidFill>
            <a:schemeClr val="tx2">
              <a:lumMod val="20000"/>
              <a:lumOff val="80000"/>
            </a:schemeClr>
          </a:solidFill>
          <a:ln w="63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tx1"/>
                </a:solidFill>
                <a:latin typeface="+mj-lt"/>
              </a:rPr>
              <a:t>Data Collection</a:t>
            </a:r>
          </a:p>
        </p:txBody>
      </p:sp>
      <p:pic>
        <p:nvPicPr>
          <p:cNvPr id="12" name="Picture 11"/>
          <p:cNvPicPr preferRelativeResize="0"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23"/>
          <a:stretch/>
        </p:blipFill>
        <p:spPr>
          <a:xfrm>
            <a:off x="352425" y="1525028"/>
            <a:ext cx="2657702" cy="170639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/>
          <p:cNvPicPr preferRelativeResize="0"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12" b="6866"/>
          <a:stretch/>
        </p:blipFill>
        <p:spPr>
          <a:xfrm>
            <a:off x="3190467" y="1503651"/>
            <a:ext cx="2667070" cy="169198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1721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04800"/>
            <a:ext cx="7956550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Overview -1</a:t>
            </a:r>
            <a:endParaRPr lang="en-US" sz="2200" dirty="0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640823" y="2859441"/>
            <a:ext cx="2193925" cy="1691981"/>
            <a:chOff x="548577" y="3130014"/>
            <a:chExt cx="2193925" cy="1691981"/>
          </a:xfrm>
        </p:grpSpPr>
        <p:graphicFrame>
          <p:nvGraphicFramePr>
            <p:cNvPr id="6" name="Chart 5"/>
            <p:cNvGraphicFramePr/>
            <p:nvPr>
              <p:extLst>
                <p:ext uri="{D42A27DB-BD31-4B8C-83A1-F6EECF244321}">
                  <p14:modId xmlns:p14="http://schemas.microsoft.com/office/powerpoint/2010/main" val="410811613"/>
                </p:ext>
              </p:extLst>
            </p:nvPr>
          </p:nvGraphicFramePr>
          <p:xfrm>
            <a:off x="548577" y="3130014"/>
            <a:ext cx="2131667" cy="143671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7" name="Rectangle 6"/>
            <p:cNvSpPr/>
            <p:nvPr/>
          </p:nvSpPr>
          <p:spPr>
            <a:xfrm>
              <a:off x="1264863" y="3507650"/>
              <a:ext cx="945598" cy="65850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rgbClr val="E3173E"/>
                  </a:solidFill>
                </a:rPr>
                <a:t>3.35</a:t>
              </a:r>
              <a:endParaRPr lang="en-US" sz="1600" b="1" dirty="0">
                <a:solidFill>
                  <a:srgbClr val="E3173E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811554" y="4457258"/>
              <a:ext cx="1930948" cy="364737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 anchorCtr="0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Current Avg. Rating</a:t>
              </a:r>
              <a:br>
                <a:rPr lang="en-US" sz="1200" b="1" dirty="0" smtClean="0">
                  <a:solidFill>
                    <a:schemeClr val="tx1"/>
                  </a:solidFill>
                </a:rPr>
              </a:br>
              <a:r>
                <a:rPr lang="en-US" sz="1200" b="1" dirty="0" smtClean="0">
                  <a:solidFill>
                    <a:schemeClr val="tx1"/>
                  </a:solidFill>
                </a:rPr>
                <a:t>of the Business*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2972763" y="2921805"/>
            <a:ext cx="1799203" cy="1728647"/>
            <a:chOff x="2284270" y="1325874"/>
            <a:chExt cx="1341843" cy="1447151"/>
          </a:xfrm>
        </p:grpSpPr>
        <p:sp>
          <p:nvSpPr>
            <p:cNvPr id="19" name="Rectangle 18"/>
            <p:cNvSpPr/>
            <p:nvPr/>
          </p:nvSpPr>
          <p:spPr>
            <a:xfrm>
              <a:off x="2658531" y="1325874"/>
              <a:ext cx="648072" cy="504056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rgbClr val="E3173E"/>
                  </a:solidFill>
                </a:rPr>
                <a:t>437</a:t>
              </a:r>
              <a:endParaRPr lang="en-US" sz="1800" b="1" dirty="0">
                <a:solidFill>
                  <a:srgbClr val="E3173E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284270" y="2408288"/>
              <a:ext cx="1341843" cy="364737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 anchorCtr="0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# Reviews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pic>
          <p:nvPicPr>
            <p:cNvPr id="21" name="Picture 6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845" b="17845"/>
            <a:stretch/>
          </p:blipFill>
          <p:spPr bwMode="auto">
            <a:xfrm>
              <a:off x="2725678" y="1806660"/>
              <a:ext cx="553550" cy="4449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Group 21"/>
          <p:cNvGrpSpPr/>
          <p:nvPr/>
        </p:nvGrpSpPr>
        <p:grpSpPr>
          <a:xfrm>
            <a:off x="4679926" y="2840795"/>
            <a:ext cx="2123492" cy="1981200"/>
            <a:chOff x="3347864" y="1324185"/>
            <a:chExt cx="1341843" cy="1335349"/>
          </a:xfrm>
        </p:grpSpPr>
        <p:sp>
          <p:nvSpPr>
            <p:cNvPr id="23" name="Rectangle 22"/>
            <p:cNvSpPr/>
            <p:nvPr/>
          </p:nvSpPr>
          <p:spPr>
            <a:xfrm>
              <a:off x="3347864" y="2294797"/>
              <a:ext cx="1341843" cy="364737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 anchorCtr="0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# Months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643252" y="1324185"/>
              <a:ext cx="751991" cy="513261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 dirty="0" smtClean="0">
                  <a:solidFill>
                    <a:srgbClr val="E3173E"/>
                  </a:solidFill>
                </a:rPr>
                <a:t>66</a:t>
              </a:r>
              <a:endParaRPr lang="en-US" sz="1800" b="1" dirty="0">
                <a:solidFill>
                  <a:srgbClr val="E3173E"/>
                </a:solidFill>
              </a:endParaRPr>
            </a:p>
          </p:txBody>
        </p:sp>
        <p:pic>
          <p:nvPicPr>
            <p:cNvPr id="25" name="Picture 7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5424" y="1813202"/>
              <a:ext cx="366721" cy="3667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6" name="Group 25"/>
          <p:cNvGrpSpPr/>
          <p:nvPr/>
        </p:nvGrpSpPr>
        <p:grpSpPr>
          <a:xfrm>
            <a:off x="6836270" y="2858060"/>
            <a:ext cx="1743456" cy="1789226"/>
            <a:chOff x="4752019" y="1303573"/>
            <a:chExt cx="1554480" cy="1453580"/>
          </a:xfrm>
        </p:grpSpPr>
        <p:sp>
          <p:nvSpPr>
            <p:cNvPr id="27" name="Rectangle 26"/>
            <p:cNvSpPr/>
            <p:nvPr/>
          </p:nvSpPr>
          <p:spPr>
            <a:xfrm>
              <a:off x="4752019" y="2392416"/>
              <a:ext cx="1554480" cy="364737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 anchorCtr="0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# Monthly Average Reviews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5205223" y="1303573"/>
              <a:ext cx="648072" cy="504056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 dirty="0" smtClean="0">
                  <a:solidFill>
                    <a:srgbClr val="E3173E"/>
                  </a:solidFill>
                </a:rPr>
                <a:t>~7</a:t>
              </a:r>
              <a:endParaRPr lang="en-US" sz="1800" b="1" dirty="0">
                <a:solidFill>
                  <a:srgbClr val="E3173E"/>
                </a:solidFill>
              </a:endParaRPr>
            </a:p>
          </p:txBody>
        </p:sp>
        <p:pic>
          <p:nvPicPr>
            <p:cNvPr id="29" name="Picture 9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3256" y="1822903"/>
              <a:ext cx="432005" cy="4320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1" name="TextBox 40"/>
          <p:cNvSpPr txBox="1"/>
          <p:nvPr/>
        </p:nvSpPr>
        <p:spPr>
          <a:xfrm>
            <a:off x="332132" y="6607898"/>
            <a:ext cx="3858867" cy="1046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IN" sz="800" dirty="0"/>
              <a:t>* The </a:t>
            </a:r>
            <a:r>
              <a:rPr lang="en-IN" sz="800" dirty="0" smtClean="0"/>
              <a:t>rating is on a scale of 5 and the time frame of the analysis is from 2009 to 2015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968138" y="4632400"/>
            <a:ext cx="2127408" cy="1857932"/>
            <a:chOff x="1965960" y="2854055"/>
            <a:chExt cx="1563019" cy="1854081"/>
          </a:xfrm>
        </p:grpSpPr>
        <p:sp>
          <p:nvSpPr>
            <p:cNvPr id="11" name="Rectangle 10"/>
            <p:cNvSpPr/>
            <p:nvPr/>
          </p:nvSpPr>
          <p:spPr>
            <a:xfrm>
              <a:off x="1965960" y="4343399"/>
              <a:ext cx="1563019" cy="364737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 anchorCtr="0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Positive : Negative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431500" y="2854055"/>
              <a:ext cx="648072" cy="504056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rgbClr val="E3173E"/>
                  </a:solidFill>
                </a:rPr>
                <a:t>2.23 </a:t>
              </a:r>
              <a:endParaRPr lang="en-US" sz="1600" b="1" dirty="0">
                <a:solidFill>
                  <a:srgbClr val="E3173E"/>
                </a:solidFill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9187" y="3363192"/>
              <a:ext cx="956563" cy="853254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965188" y="4765564"/>
            <a:ext cx="1934290" cy="1653366"/>
            <a:chOff x="4557429" y="3059695"/>
            <a:chExt cx="1882296" cy="1726992"/>
          </a:xfrm>
        </p:grpSpPr>
        <p:sp>
          <p:nvSpPr>
            <p:cNvPr id="16" name="Rectangle 15"/>
            <p:cNvSpPr/>
            <p:nvPr/>
          </p:nvSpPr>
          <p:spPr>
            <a:xfrm>
              <a:off x="5067312" y="3059695"/>
              <a:ext cx="648072" cy="504056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 dirty="0" smtClean="0">
                  <a:solidFill>
                    <a:srgbClr val="E3173E"/>
                  </a:solidFill>
                </a:rPr>
                <a:t>49%</a:t>
              </a:r>
              <a:endParaRPr lang="en-US" sz="1800" b="1" dirty="0">
                <a:solidFill>
                  <a:srgbClr val="E3173E"/>
                </a:solidFill>
              </a:endParaRPr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88508" y="3539946"/>
              <a:ext cx="1005682" cy="1005682"/>
            </a:xfrm>
            <a:prstGeom prst="rect">
              <a:avLst/>
            </a:prstGeom>
          </p:spPr>
        </p:pic>
        <p:sp>
          <p:nvSpPr>
            <p:cNvPr id="15" name="Rectangle 14"/>
            <p:cNvSpPr/>
            <p:nvPr/>
          </p:nvSpPr>
          <p:spPr>
            <a:xfrm>
              <a:off x="4557429" y="4421950"/>
              <a:ext cx="1882296" cy="364737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 anchorCtr="0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Avg. Recommender Score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36" name="Rectangle 35"/>
          <p:cNvSpPr/>
          <p:nvPr/>
        </p:nvSpPr>
        <p:spPr>
          <a:xfrm>
            <a:off x="4028421" y="3305890"/>
            <a:ext cx="108715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FFFFFF"/>
                </a:solidFill>
                <a:cs typeface="Arial" panose="020B0604020202020204" pitchFamily="34" charset="0"/>
              </a:rPr>
              <a:t>CEO Approval </a:t>
            </a:r>
            <a:endParaRPr lang="en-US" dirty="0"/>
          </a:p>
        </p:txBody>
      </p:sp>
      <p:grpSp>
        <p:nvGrpSpPr>
          <p:cNvPr id="37" name="Group 36"/>
          <p:cNvGrpSpPr/>
          <p:nvPr/>
        </p:nvGrpSpPr>
        <p:grpSpPr>
          <a:xfrm>
            <a:off x="2866898" y="4632400"/>
            <a:ext cx="2323045" cy="1831332"/>
            <a:chOff x="4658524" y="2841902"/>
            <a:chExt cx="2233076" cy="2093417"/>
          </a:xfrm>
        </p:grpSpPr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16635" y="3357203"/>
              <a:ext cx="1093262" cy="1093262"/>
            </a:xfrm>
            <a:prstGeom prst="rect">
              <a:avLst/>
            </a:prstGeom>
          </p:spPr>
        </p:pic>
        <p:sp>
          <p:nvSpPr>
            <p:cNvPr id="48" name="Rectangle 47"/>
            <p:cNvSpPr/>
            <p:nvPr/>
          </p:nvSpPr>
          <p:spPr>
            <a:xfrm>
              <a:off x="4658524" y="4529631"/>
              <a:ext cx="2233076" cy="405688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 anchorCtr="0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Avg. CEO Approval 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5378843" y="2841902"/>
              <a:ext cx="768845" cy="560649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 dirty="0" smtClean="0">
                  <a:solidFill>
                    <a:srgbClr val="E3173E"/>
                  </a:solidFill>
                </a:rPr>
                <a:t>27%</a:t>
              </a:r>
              <a:endParaRPr lang="en-US" sz="1800" b="1" dirty="0">
                <a:solidFill>
                  <a:srgbClr val="E3173E"/>
                </a:solidFill>
              </a:endParaRPr>
            </a:p>
          </p:txBody>
        </p:sp>
      </p:grpSp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1148" y="47625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3" name="Chart 4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069017"/>
              </p:ext>
            </p:extLst>
          </p:nvPr>
        </p:nvGraphicFramePr>
        <p:xfrm>
          <a:off x="460375" y="914400"/>
          <a:ext cx="8334375" cy="17167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1875634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04800"/>
            <a:ext cx="7956550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Overview -2</a:t>
            </a:r>
            <a:endParaRPr lang="en-US" sz="2200" dirty="0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516922"/>
              </p:ext>
            </p:extLst>
          </p:nvPr>
        </p:nvGraphicFramePr>
        <p:xfrm>
          <a:off x="304800" y="2971800"/>
          <a:ext cx="2819400" cy="1656395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939800"/>
                <a:gridCol w="939800"/>
                <a:gridCol w="939800"/>
              </a:tblGrid>
              <a:tr h="331279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Position</a:t>
                      </a:r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#Reviews</a:t>
                      </a:r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vg. Rating</a:t>
                      </a:r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  <a:tr h="331279">
                <a:tc>
                  <a:txBody>
                    <a:bodyPr/>
                    <a:lstStyle/>
                    <a:p>
                      <a:pPr algn="l"/>
                      <a:r>
                        <a:rPr lang="en-US" sz="1100" dirty="0" smtClean="0">
                          <a:latin typeface="+mj-lt"/>
                        </a:rPr>
                        <a:t>Analyst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279">
                <a:tc>
                  <a:txBody>
                    <a:bodyPr/>
                    <a:lstStyle/>
                    <a:p>
                      <a:pPr algn="l"/>
                      <a:r>
                        <a:rPr lang="en-US" sz="1100" dirty="0" smtClean="0">
                          <a:latin typeface="+mj-lt"/>
                        </a:rPr>
                        <a:t>Sr. Analyst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</a:tr>
              <a:tr h="331279">
                <a:tc>
                  <a:txBody>
                    <a:bodyPr/>
                    <a:lstStyle/>
                    <a:p>
                      <a:pPr algn="l"/>
                      <a:r>
                        <a:rPr lang="en-US" sz="1100" dirty="0" smtClean="0">
                          <a:latin typeface="+mj-lt"/>
                        </a:rPr>
                        <a:t>Manager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279">
                <a:tc>
                  <a:txBody>
                    <a:bodyPr/>
                    <a:lstStyle/>
                    <a:p>
                      <a:pPr algn="l"/>
                      <a:r>
                        <a:rPr lang="en-US" sz="1100" dirty="0" smtClean="0">
                          <a:latin typeface="+mj-lt"/>
                        </a:rPr>
                        <a:t>Leadership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274797"/>
              </p:ext>
            </p:extLst>
          </p:nvPr>
        </p:nvGraphicFramePr>
        <p:xfrm>
          <a:off x="3252216" y="2971800"/>
          <a:ext cx="2462784" cy="112543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820928"/>
                <a:gridCol w="820928"/>
                <a:gridCol w="820928"/>
              </a:tblGrid>
              <a:tr h="334115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Status</a:t>
                      </a:r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#Reviews</a:t>
                      </a:r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vg. Rating</a:t>
                      </a:r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  <a:tr h="334115">
                <a:tc>
                  <a:txBody>
                    <a:bodyPr/>
                    <a:lstStyle/>
                    <a:p>
                      <a:pPr algn="l"/>
                      <a:r>
                        <a:rPr lang="en-US" sz="1100" dirty="0" smtClean="0">
                          <a:latin typeface="+mj-lt"/>
                        </a:rPr>
                        <a:t>Former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4115">
                <a:tc>
                  <a:txBody>
                    <a:bodyPr/>
                    <a:lstStyle/>
                    <a:p>
                      <a:pPr algn="l"/>
                      <a:r>
                        <a:rPr lang="en-US" sz="1100" dirty="0" smtClean="0">
                          <a:latin typeface="+mj-lt"/>
                        </a:rPr>
                        <a:t>Current</a:t>
                      </a:r>
                      <a:endParaRPr lang="en-US" sz="1100" dirty="0"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</a:tr>
            </a:tbl>
          </a:graphicData>
        </a:graphic>
      </p:graphicFrame>
      <p:sp>
        <p:nvSpPr>
          <p:cNvPr id="44" name="Round Same Side Corner Rectangle 43"/>
          <p:cNvSpPr/>
          <p:nvPr/>
        </p:nvSpPr>
        <p:spPr>
          <a:xfrm>
            <a:off x="3242056" y="2590800"/>
            <a:ext cx="1879992" cy="396240"/>
          </a:xfrm>
          <a:prstGeom prst="round2SameRect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600" b="1" dirty="0">
                <a:solidFill>
                  <a:srgbClr val="FFFFFF"/>
                </a:solidFill>
              </a:rPr>
              <a:t>Employee Status</a:t>
            </a:r>
          </a:p>
        </p:txBody>
      </p:sp>
      <p:sp>
        <p:nvSpPr>
          <p:cNvPr id="45" name="Round Same Side Corner Rectangle 44"/>
          <p:cNvSpPr/>
          <p:nvPr/>
        </p:nvSpPr>
        <p:spPr>
          <a:xfrm>
            <a:off x="304800" y="2651760"/>
            <a:ext cx="1400174" cy="320040"/>
          </a:xfrm>
          <a:prstGeom prst="round2SameRect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spcBef>
                <a:spcPts val="0"/>
              </a:spcBef>
            </a:pPr>
            <a:r>
              <a:rPr lang="en-US" sz="1600" b="1" dirty="0">
                <a:solidFill>
                  <a:srgbClr val="FFFFFF"/>
                </a:solidFill>
              </a:rPr>
              <a:t>Position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3581400" y="838200"/>
            <a:ext cx="1341843" cy="1300515"/>
            <a:chOff x="2299421" y="1359019"/>
            <a:chExt cx="1341843" cy="1300515"/>
          </a:xfrm>
        </p:grpSpPr>
        <p:sp>
          <p:nvSpPr>
            <p:cNvPr id="19" name="Rectangle 18"/>
            <p:cNvSpPr/>
            <p:nvPr/>
          </p:nvSpPr>
          <p:spPr>
            <a:xfrm>
              <a:off x="2646306" y="1359019"/>
              <a:ext cx="648072" cy="504056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 dirty="0" smtClean="0">
                  <a:solidFill>
                    <a:srgbClr val="E3173E"/>
                  </a:solidFill>
                </a:rPr>
                <a:t>437</a:t>
              </a:r>
              <a:endParaRPr lang="en-US" sz="1800" b="1" dirty="0">
                <a:solidFill>
                  <a:srgbClr val="E3173E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299421" y="2294797"/>
              <a:ext cx="1341843" cy="364737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 anchorCtr="0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</a:rPr>
                <a:t># Reviews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pic>
          <p:nvPicPr>
            <p:cNvPr id="21" name="Picture 6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845" b="17845"/>
            <a:stretch/>
          </p:blipFill>
          <p:spPr bwMode="auto">
            <a:xfrm>
              <a:off x="2693567" y="1769718"/>
              <a:ext cx="553550" cy="4449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" name="Straight Arrow Connector 4"/>
          <p:cNvCxnSpPr/>
          <p:nvPr/>
        </p:nvCxnSpPr>
        <p:spPr bwMode="auto">
          <a:xfrm>
            <a:off x="4191000" y="2138715"/>
            <a:ext cx="0" cy="457200"/>
          </a:xfrm>
          <a:prstGeom prst="straightConnector1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Arrow Connector 23"/>
          <p:cNvCxnSpPr>
            <a:stCxn id="21" idx="3"/>
          </p:cNvCxnSpPr>
          <p:nvPr/>
        </p:nvCxnSpPr>
        <p:spPr bwMode="auto">
          <a:xfrm flipV="1">
            <a:off x="4529096" y="1059376"/>
            <a:ext cx="1185904" cy="365760"/>
          </a:xfrm>
          <a:prstGeom prst="straightConnector1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Arrow Connector 26"/>
          <p:cNvCxnSpPr/>
          <p:nvPr/>
        </p:nvCxnSpPr>
        <p:spPr bwMode="auto">
          <a:xfrm flipH="1">
            <a:off x="1030019" y="1624381"/>
            <a:ext cx="2719021" cy="966419"/>
          </a:xfrm>
          <a:prstGeom prst="straightConnector1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6723590"/>
              </p:ext>
            </p:extLst>
          </p:nvPr>
        </p:nvGraphicFramePr>
        <p:xfrm>
          <a:off x="5759451" y="1219201"/>
          <a:ext cx="3003549" cy="51968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15723"/>
                <a:gridCol w="786643"/>
                <a:gridCol w="1001183"/>
              </a:tblGrid>
              <a:tr h="271920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Location</a:t>
                      </a:r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#Reviews</a:t>
                      </a:r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vg. Rating</a:t>
                      </a:r>
                      <a:endParaRPr lang="en-US" sz="1200" dirty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or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hra Prades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ryan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glan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hi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ng Kong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deral Capit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llinoi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il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lorado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 Jersey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ssachusett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nsa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bai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le-de-Fran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harashtr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tario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isclosed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8" name="Round Same Side Corner Rectangle 27"/>
          <p:cNvSpPr/>
          <p:nvPr/>
        </p:nvSpPr>
        <p:spPr>
          <a:xfrm>
            <a:off x="5759451" y="899160"/>
            <a:ext cx="1701806" cy="320040"/>
          </a:xfrm>
          <a:prstGeom prst="round2SameRect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600" b="1" dirty="0" smtClean="0">
                <a:solidFill>
                  <a:srgbClr val="FFFFFF"/>
                </a:solidFill>
              </a:rPr>
              <a:t>Location</a:t>
            </a:r>
            <a:endParaRPr lang="en-US" sz="1600" b="1" dirty="0">
              <a:solidFill>
                <a:srgbClr val="FFFFFF"/>
              </a:solidFill>
            </a:endParaRPr>
          </a:p>
        </p:txBody>
      </p:sp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332132" y="6607898"/>
            <a:ext cx="3858867" cy="1046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85000"/>
              </a:lnSpc>
            </a:pPr>
            <a:r>
              <a:rPr lang="en-IN" sz="800" dirty="0"/>
              <a:t>* The </a:t>
            </a:r>
            <a:r>
              <a:rPr lang="en-IN" sz="800" dirty="0" smtClean="0"/>
              <a:t>rating is on a scale of 5 and the time frame of the analysis is from 2009 to 2015</a:t>
            </a:r>
          </a:p>
        </p:txBody>
      </p:sp>
    </p:spTree>
    <p:extLst>
      <p:ext uri="{BB962C8B-B14F-4D97-AF65-F5344CB8AC3E}">
        <p14:creationId xmlns:p14="http://schemas.microsoft.com/office/powerpoint/2010/main" val="2703995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8200" y="304800"/>
            <a:ext cx="7070560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IN" b="0" dirty="0">
                <a:solidFill>
                  <a:schemeClr val="bg2">
                    <a:lumMod val="50000"/>
                  </a:schemeClr>
                </a:solidFill>
              </a:rPr>
              <a:t>Overall Themes – Key </a:t>
            </a:r>
            <a:r>
              <a:rPr lang="en-IN" b="0" dirty="0" smtClean="0">
                <a:solidFill>
                  <a:schemeClr val="bg2">
                    <a:lumMod val="50000"/>
                  </a:schemeClr>
                </a:solidFill>
              </a:rPr>
              <a:t>Attributes</a:t>
            </a:r>
            <a:endParaRPr lang="en-IN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D51F4-68C8-4EB1-9F65-FF42CDFADB18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350413" y="995363"/>
            <a:ext cx="8403062" cy="4062413"/>
            <a:chOff x="356489" y="995363"/>
            <a:chExt cx="8402955" cy="3726778"/>
          </a:xfrm>
        </p:grpSpPr>
        <p:sp>
          <p:nvSpPr>
            <p:cNvPr id="19" name="Round Same Side Corner Rectangle 18"/>
            <p:cNvSpPr/>
            <p:nvPr/>
          </p:nvSpPr>
          <p:spPr>
            <a:xfrm>
              <a:off x="4644644" y="995363"/>
              <a:ext cx="4114800" cy="293598"/>
            </a:xfrm>
            <a:prstGeom prst="round2SameRect">
              <a:avLst/>
            </a:prstGeom>
            <a:solidFill>
              <a:srgbClr val="E31837"/>
            </a:solidFill>
            <a:ln w="635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rgbClr val="FFFFFF"/>
                  </a:solidFill>
                </a:rPr>
                <a:t>Overall Wordcloud</a:t>
              </a:r>
            </a:p>
          </p:txBody>
        </p:sp>
        <p:sp>
          <p:nvSpPr>
            <p:cNvPr id="20" name="Round Same Side Corner Rectangle 19"/>
            <p:cNvSpPr/>
            <p:nvPr/>
          </p:nvSpPr>
          <p:spPr>
            <a:xfrm>
              <a:off x="356489" y="995363"/>
              <a:ext cx="4114800" cy="293598"/>
            </a:xfrm>
            <a:prstGeom prst="round2SameRect">
              <a:avLst/>
            </a:prstGeom>
            <a:solidFill>
              <a:srgbClr val="E31837"/>
            </a:solidFill>
            <a:ln w="635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rgbClr val="FFFFFF"/>
                  </a:solidFill>
                </a:rPr>
                <a:t>Top Discussion </a:t>
              </a:r>
              <a:r>
                <a:rPr lang="en-US" sz="1600" b="1" dirty="0" smtClean="0">
                  <a:solidFill>
                    <a:srgbClr val="FFFFFF"/>
                  </a:solidFill>
                </a:rPr>
                <a:t>Topics</a:t>
              </a:r>
              <a:endParaRPr lang="en-US" sz="1600" b="1" dirty="0">
                <a:solidFill>
                  <a:srgbClr val="FFFFFF"/>
                </a:solidFill>
              </a:endParaRPr>
            </a:p>
          </p:txBody>
        </p:sp>
        <p:graphicFrame>
          <p:nvGraphicFramePr>
            <p:cNvPr id="5" name="Chart 4"/>
            <p:cNvGraphicFramePr/>
            <p:nvPr>
              <p:extLst/>
            </p:nvPr>
          </p:nvGraphicFramePr>
          <p:xfrm>
            <a:off x="356489" y="1288962"/>
            <a:ext cx="4114800" cy="343317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6" name="Rectangle 15"/>
            <p:cNvSpPr/>
            <p:nvPr/>
          </p:nvSpPr>
          <p:spPr>
            <a:xfrm>
              <a:off x="4644644" y="1288962"/>
              <a:ext cx="4114800" cy="3433179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350413" y="5488569"/>
            <a:ext cx="8412586" cy="9020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33363" indent="-233363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>
                <a:latin typeface="+mj-lt"/>
              </a:defRPr>
            </a:lvl1pPr>
          </a:lstStyle>
          <a:p>
            <a:r>
              <a:rPr lang="en-US" dirty="0"/>
              <a:t>Apart from </a:t>
            </a:r>
            <a:r>
              <a:rPr lang="en-US" dirty="0" smtClean="0"/>
              <a:t>work life balance, work environment </a:t>
            </a:r>
            <a:r>
              <a:rPr lang="en-US" dirty="0"/>
              <a:t>is a highly discussed topic followed by </a:t>
            </a:r>
            <a:r>
              <a:rPr lang="en-US" dirty="0" smtClean="0"/>
              <a:t>management</a:t>
            </a:r>
            <a:r>
              <a:rPr lang="en-US" dirty="0"/>
              <a:t>, </a:t>
            </a:r>
            <a:r>
              <a:rPr lang="en-US" dirty="0" smtClean="0"/>
              <a:t>training &amp; learning </a:t>
            </a:r>
            <a:r>
              <a:rPr lang="en-US" dirty="0"/>
              <a:t>and </a:t>
            </a:r>
            <a:r>
              <a:rPr lang="en-US" dirty="0" smtClean="0"/>
              <a:t>work culture</a:t>
            </a:r>
          </a:p>
        </p:txBody>
      </p:sp>
      <p:sp>
        <p:nvSpPr>
          <p:cNvPr id="23" name="Round Same Side Corner Rectangle 22"/>
          <p:cNvSpPr/>
          <p:nvPr/>
        </p:nvSpPr>
        <p:spPr>
          <a:xfrm>
            <a:off x="350413" y="5168529"/>
            <a:ext cx="1502235" cy="320040"/>
          </a:xfrm>
          <a:prstGeom prst="round2SameRect">
            <a:avLst/>
          </a:prstGeom>
          <a:solidFill>
            <a:srgbClr val="E3183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rgbClr val="FFFFFF"/>
                </a:solidFill>
              </a:rPr>
              <a:t>Key Point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7225" y="1561854"/>
            <a:ext cx="3505200" cy="3069175"/>
          </a:xfrm>
          <a:prstGeom prst="rect">
            <a:avLst/>
          </a:prstGeom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17055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04800"/>
            <a:ext cx="7070560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b="0" dirty="0">
                <a:solidFill>
                  <a:schemeClr val="bg2">
                    <a:lumMod val="50000"/>
                  </a:schemeClr>
                </a:solidFill>
              </a:rPr>
              <a:t>Pros vs. Cons – Key </a:t>
            </a:r>
            <a:r>
              <a:rPr lang="en-US" b="0" dirty="0" smtClean="0">
                <a:solidFill>
                  <a:schemeClr val="bg2">
                    <a:lumMod val="50000"/>
                  </a:schemeClr>
                </a:solidFill>
              </a:rPr>
              <a:t>Attributes Word Cloud</a:t>
            </a:r>
            <a:endParaRPr lang="en-IN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D51F4-68C8-4EB1-9F65-FF42CDFADB18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352425" y="995362"/>
            <a:ext cx="8416543" cy="4073526"/>
            <a:chOff x="356489" y="1070648"/>
            <a:chExt cx="8412480" cy="3736973"/>
          </a:xfrm>
        </p:grpSpPr>
        <p:sp>
          <p:nvSpPr>
            <p:cNvPr id="13" name="Round Same Side Corner Rectangle 12"/>
            <p:cNvSpPr/>
            <p:nvPr/>
          </p:nvSpPr>
          <p:spPr>
            <a:xfrm>
              <a:off x="4654169" y="1070648"/>
              <a:ext cx="4114800" cy="293598"/>
            </a:xfrm>
            <a:prstGeom prst="round2SameRect">
              <a:avLst/>
            </a:prstGeom>
            <a:solidFill>
              <a:srgbClr val="E31837"/>
            </a:solidFill>
            <a:ln w="635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rgbClr val="FFFFFF"/>
                  </a:solidFill>
                </a:rPr>
                <a:t>Outlook – Negative </a:t>
              </a:r>
              <a:r>
                <a:rPr lang="en-US" sz="1600" b="1" dirty="0" err="1">
                  <a:solidFill>
                    <a:srgbClr val="FFFFFF"/>
                  </a:solidFill>
                </a:rPr>
                <a:t>Wordcloud</a:t>
              </a:r>
              <a:endParaRPr lang="en-US" sz="1600" b="1" dirty="0">
                <a:solidFill>
                  <a:srgbClr val="FFFFFF"/>
                </a:solidFill>
              </a:endParaRPr>
            </a:p>
          </p:txBody>
        </p:sp>
        <p:sp>
          <p:nvSpPr>
            <p:cNvPr id="14" name="Round Same Side Corner Rectangle 13"/>
            <p:cNvSpPr/>
            <p:nvPr/>
          </p:nvSpPr>
          <p:spPr>
            <a:xfrm>
              <a:off x="356489" y="1070648"/>
              <a:ext cx="4114800" cy="293598"/>
            </a:xfrm>
            <a:prstGeom prst="round2SameRect">
              <a:avLst/>
            </a:prstGeom>
            <a:solidFill>
              <a:srgbClr val="E31837"/>
            </a:solidFill>
            <a:ln w="635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rgbClr val="FFFFFF"/>
                  </a:solidFill>
                </a:rPr>
                <a:t>Outlook – Positive </a:t>
              </a:r>
              <a:r>
                <a:rPr lang="en-US" sz="1600" b="1" dirty="0" err="1">
                  <a:solidFill>
                    <a:srgbClr val="FFFFFF"/>
                  </a:solidFill>
                </a:rPr>
                <a:t>Wordcloud</a:t>
              </a:r>
              <a:endParaRPr lang="en-US" sz="1600" b="1" dirty="0">
                <a:solidFill>
                  <a:srgbClr val="FFFFFF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356490" y="1364247"/>
              <a:ext cx="4114800" cy="3443373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4654169" y="1364247"/>
              <a:ext cx="4114800" cy="3443374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 dirty="0">
                <a:solidFill>
                  <a:srgbClr val="FFFFFF"/>
                </a:solidFill>
              </a:endParaRPr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050" y="2165849"/>
            <a:ext cx="4019550" cy="18002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1738" y="2127883"/>
            <a:ext cx="3848862" cy="2166667"/>
          </a:xfrm>
          <a:prstGeom prst="rect">
            <a:avLst/>
          </a:prstGeom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ound Same Side Corner Rectangle 32"/>
          <p:cNvSpPr/>
          <p:nvPr/>
        </p:nvSpPr>
        <p:spPr>
          <a:xfrm>
            <a:off x="350413" y="5168529"/>
            <a:ext cx="1502235" cy="320040"/>
          </a:xfrm>
          <a:prstGeom prst="round2SameRect">
            <a:avLst/>
          </a:prstGeom>
          <a:solidFill>
            <a:srgbClr val="E3183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rgbClr val="FFFFFF"/>
                </a:solidFill>
              </a:rPr>
              <a:t>Key Point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50413" y="5488569"/>
            <a:ext cx="8412586" cy="9020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33363" indent="-233363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>
                <a:latin typeface="+mj-lt"/>
              </a:defRPr>
            </a:lvl1pPr>
          </a:lstStyle>
          <a:p>
            <a:endParaRPr lang="en-US" dirty="0" smtClean="0"/>
          </a:p>
          <a:p>
            <a:r>
              <a:rPr lang="en-US" dirty="0" smtClean="0"/>
              <a:t>Factors such as work life balance, work environment, training &amp; learning </a:t>
            </a:r>
            <a:r>
              <a:rPr lang="en-US" dirty="0" smtClean="0"/>
              <a:t>drive </a:t>
            </a:r>
            <a:r>
              <a:rPr lang="en-US" dirty="0" smtClean="0"/>
              <a:t>people’s decision to have positive outlook while attributes such as career growth, compensation, cost cutting </a:t>
            </a:r>
            <a:r>
              <a:rPr lang="en-US" dirty="0" smtClean="0"/>
              <a:t>affect </a:t>
            </a:r>
            <a:r>
              <a:rPr lang="en-US" dirty="0" smtClean="0"/>
              <a:t>people’s optimistic outlook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741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04800"/>
            <a:ext cx="7070560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b="0" dirty="0">
                <a:solidFill>
                  <a:schemeClr val="bg2">
                    <a:lumMod val="50000"/>
                  </a:schemeClr>
                </a:solidFill>
              </a:rPr>
              <a:t>Pros vs. Cons – Key </a:t>
            </a:r>
            <a:r>
              <a:rPr lang="en-US" b="0" dirty="0" smtClean="0">
                <a:solidFill>
                  <a:schemeClr val="bg2">
                    <a:lumMod val="50000"/>
                  </a:schemeClr>
                </a:solidFill>
              </a:rPr>
              <a:t>Attributes Frequency</a:t>
            </a:r>
            <a:endParaRPr lang="en-US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D51F4-68C8-4EB1-9F65-FF42CDFADB18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342050" y="988782"/>
            <a:ext cx="8373235" cy="4192818"/>
            <a:chOff x="356489" y="1070648"/>
            <a:chExt cx="8397681" cy="3616019"/>
          </a:xfrm>
        </p:grpSpPr>
        <p:sp>
          <p:nvSpPr>
            <p:cNvPr id="26" name="Round Same Side Corner Rectangle 25"/>
            <p:cNvSpPr/>
            <p:nvPr/>
          </p:nvSpPr>
          <p:spPr>
            <a:xfrm>
              <a:off x="4639368" y="1070648"/>
              <a:ext cx="4114800" cy="293598"/>
            </a:xfrm>
            <a:prstGeom prst="round2SameRect">
              <a:avLst/>
            </a:prstGeom>
            <a:solidFill>
              <a:srgbClr val="E31837"/>
            </a:solidFill>
            <a:ln w="635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rgbClr val="FFFFFF"/>
                  </a:solidFill>
                </a:rPr>
                <a:t>Cons</a:t>
              </a:r>
            </a:p>
          </p:txBody>
        </p:sp>
        <p:sp>
          <p:nvSpPr>
            <p:cNvPr id="27" name="Round Same Side Corner Rectangle 26"/>
            <p:cNvSpPr/>
            <p:nvPr/>
          </p:nvSpPr>
          <p:spPr>
            <a:xfrm>
              <a:off x="356489" y="1070648"/>
              <a:ext cx="4114800" cy="293598"/>
            </a:xfrm>
            <a:prstGeom prst="round2SameRect">
              <a:avLst/>
            </a:prstGeom>
            <a:solidFill>
              <a:srgbClr val="E31837"/>
            </a:solidFill>
            <a:ln w="635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rgbClr val="FFFFFF"/>
                  </a:solidFill>
                </a:rPr>
                <a:t>Pros</a:t>
              </a:r>
            </a:p>
          </p:txBody>
        </p:sp>
        <p:graphicFrame>
          <p:nvGraphicFramePr>
            <p:cNvPr id="16" name="Chart 15"/>
            <p:cNvGraphicFramePr/>
            <p:nvPr>
              <p:extLst>
                <p:ext uri="{D42A27DB-BD31-4B8C-83A1-F6EECF244321}">
                  <p14:modId xmlns:p14="http://schemas.microsoft.com/office/powerpoint/2010/main" val="1680095361"/>
                </p:ext>
              </p:extLst>
            </p:nvPr>
          </p:nvGraphicFramePr>
          <p:xfrm>
            <a:off x="4639371" y="1364246"/>
            <a:ext cx="4114799" cy="332242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pic>
          <p:nvPicPr>
            <p:cNvPr id="2050" name="Picture 2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1107"/>
            <a:stretch/>
          </p:blipFill>
          <p:spPr bwMode="auto">
            <a:xfrm>
              <a:off x="3294650" y="1484784"/>
              <a:ext cx="1152128" cy="4634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8893"/>
            <a:stretch/>
          </p:blipFill>
          <p:spPr bwMode="auto">
            <a:xfrm>
              <a:off x="7524328" y="1484784"/>
              <a:ext cx="1152128" cy="4844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100" y="95250"/>
            <a:ext cx="242887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5" name="Chart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9682883"/>
              </p:ext>
            </p:extLst>
          </p:nvPr>
        </p:nvGraphicFramePr>
        <p:xfrm>
          <a:off x="4676248" y="1445790"/>
          <a:ext cx="4039035" cy="3659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Chart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8990470"/>
              </p:ext>
            </p:extLst>
          </p:nvPr>
        </p:nvGraphicFramePr>
        <p:xfrm>
          <a:off x="342050" y="1354114"/>
          <a:ext cx="4102821" cy="3827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49987" y="5638800"/>
            <a:ext cx="8412586" cy="9020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33363" indent="-233363" algn="l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>
                <a:latin typeface="+mj-lt"/>
              </a:defRPr>
            </a:lvl1pPr>
          </a:lstStyle>
          <a:p>
            <a:r>
              <a:rPr lang="en-US" dirty="0"/>
              <a:t>People </a:t>
            </a:r>
            <a:r>
              <a:rPr lang="en-US" dirty="0" smtClean="0"/>
              <a:t>enjoy </a:t>
            </a:r>
            <a:r>
              <a:rPr lang="en-US" dirty="0" smtClean="0"/>
              <a:t>the </a:t>
            </a:r>
            <a:r>
              <a:rPr lang="en-US" dirty="0"/>
              <a:t>work </a:t>
            </a:r>
            <a:r>
              <a:rPr lang="en-US" dirty="0" smtClean="0"/>
              <a:t>environment, work life balance and appreciate the compensation provided to them</a:t>
            </a:r>
          </a:p>
          <a:p>
            <a:r>
              <a:rPr lang="en-US" smtClean="0"/>
              <a:t>People </a:t>
            </a:r>
            <a:r>
              <a:rPr lang="en-US" smtClean="0"/>
              <a:t>carry </a:t>
            </a:r>
            <a:r>
              <a:rPr lang="en-US" dirty="0" smtClean="0"/>
              <a:t>mixed opinions around training &amp; learning and career growth</a:t>
            </a:r>
            <a:endParaRPr lang="en-US" dirty="0"/>
          </a:p>
        </p:txBody>
      </p:sp>
      <p:sp>
        <p:nvSpPr>
          <p:cNvPr id="31" name="Round Same Side Corner Rectangle 30"/>
          <p:cNvSpPr/>
          <p:nvPr/>
        </p:nvSpPr>
        <p:spPr>
          <a:xfrm>
            <a:off x="349987" y="5318760"/>
            <a:ext cx="1502235" cy="320040"/>
          </a:xfrm>
          <a:prstGeom prst="round2SameRect">
            <a:avLst/>
          </a:prstGeom>
          <a:solidFill>
            <a:srgbClr val="E3183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rgbClr val="FFFFFF"/>
                </a:solidFill>
              </a:rPr>
              <a:t>Key Points</a:t>
            </a:r>
          </a:p>
        </p:txBody>
      </p:sp>
    </p:spTree>
    <p:extLst>
      <p:ext uri="{BB962C8B-B14F-4D97-AF65-F5344CB8AC3E}">
        <p14:creationId xmlns:p14="http://schemas.microsoft.com/office/powerpoint/2010/main" val="450407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3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d5wdRGHEC_UVuKdgqP5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YoSfnWKkOUiT1rjS_4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d5wdRGHEC_UVuKdgqP5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YoSfnWKkOUiT1rjS_4X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d5wdRGHEC_UVuKdgqP5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YoSfnWKkOUiT1rjS_4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LzZrcEpkSf1jt7uFZ47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d5wdRGHEC_UVuKdgqP5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eLBmXU.0yNd8cZcFlx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YoSfnWKkOUiT1rjS_4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HFi_Scr_Ext[1]">
  <a:themeElements>
    <a:clrScheme name="MHFi 2013">
      <a:dk1>
        <a:srgbClr val="000000"/>
      </a:dk1>
      <a:lt1>
        <a:srgbClr val="FFFFFF"/>
      </a:lt1>
      <a:dk2>
        <a:srgbClr val="E31837"/>
      </a:dk2>
      <a:lt2>
        <a:srgbClr val="CCCCCC"/>
      </a:lt2>
      <a:accent1>
        <a:srgbClr val="818286"/>
      </a:accent1>
      <a:accent2>
        <a:srgbClr val="00A9E0"/>
      </a:accent2>
      <a:accent3>
        <a:srgbClr val="6BA539"/>
      </a:accent3>
      <a:accent4>
        <a:srgbClr val="A05EB5"/>
      </a:accent4>
      <a:accent5>
        <a:srgbClr val="E87722"/>
      </a:accent5>
      <a:accent6>
        <a:srgbClr val="F2A900"/>
      </a:accent6>
      <a:hlink>
        <a:srgbClr val="097FFF"/>
      </a:hlink>
      <a:folHlink>
        <a:srgbClr val="005776"/>
      </a:folHlink>
    </a:clrScheme>
    <a:fontScheme name="MHFi 201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2D3D5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72390" tIns="72390" rIns="72390" bIns="7239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800" dirty="0" err="1" smtClean="0">
            <a:latin typeface="+mn-lt"/>
          </a:defRPr>
        </a:defPPr>
      </a:lstStyle>
    </a:txDef>
  </a:objectDefaults>
  <a:extraClrSchemeLst>
    <a:extraClrScheme>
      <a:clrScheme name="MHP Global Strategy 1">
        <a:dk1>
          <a:srgbClr val="000000"/>
        </a:dk1>
        <a:lt1>
          <a:srgbClr val="FFFFFF"/>
        </a:lt1>
        <a:dk2>
          <a:srgbClr val="FFCC00"/>
        </a:dk2>
        <a:lt2>
          <a:srgbClr val="999999"/>
        </a:lt2>
        <a:accent1>
          <a:srgbClr val="FF6600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0000"/>
        </a:accent6>
        <a:hlink>
          <a:srgbClr val="339933"/>
        </a:hlink>
        <a:folHlink>
          <a:srgbClr val="0099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M Insights Briefing Presentation">
  <a:themeElements>
    <a:clrScheme name="MHFi 2013">
      <a:dk1>
        <a:srgbClr val="000000"/>
      </a:dk1>
      <a:lt1>
        <a:srgbClr val="FFFFFF"/>
      </a:lt1>
      <a:dk2>
        <a:srgbClr val="E31837"/>
      </a:dk2>
      <a:lt2>
        <a:srgbClr val="CCCCCC"/>
      </a:lt2>
      <a:accent1>
        <a:srgbClr val="818286"/>
      </a:accent1>
      <a:accent2>
        <a:srgbClr val="00A9E0"/>
      </a:accent2>
      <a:accent3>
        <a:srgbClr val="6BA539"/>
      </a:accent3>
      <a:accent4>
        <a:srgbClr val="A05EB5"/>
      </a:accent4>
      <a:accent5>
        <a:srgbClr val="E87722"/>
      </a:accent5>
      <a:accent6>
        <a:srgbClr val="F2A900"/>
      </a:accent6>
      <a:hlink>
        <a:srgbClr val="097FFF"/>
      </a:hlink>
      <a:folHlink>
        <a:srgbClr val="005776"/>
      </a:folHlink>
    </a:clrScheme>
    <a:fontScheme name="MHFi 201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2D3D5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72390" tIns="72390" rIns="72390" bIns="7239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sz="10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>
    <a:extraClrScheme>
      <a:clrScheme name="MHP Global Strategy 1">
        <a:dk1>
          <a:srgbClr val="000000"/>
        </a:dk1>
        <a:lt1>
          <a:srgbClr val="FFFFFF"/>
        </a:lt1>
        <a:dk2>
          <a:srgbClr val="FFCC00"/>
        </a:dk2>
        <a:lt2>
          <a:srgbClr val="999999"/>
        </a:lt2>
        <a:accent1>
          <a:srgbClr val="FF6600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0000"/>
        </a:accent6>
        <a:hlink>
          <a:srgbClr val="339933"/>
        </a:hlink>
        <a:folHlink>
          <a:srgbClr val="0099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TM Insights Briefing Presentation">
  <a:themeElements>
    <a:clrScheme name="MHFi 2013">
      <a:dk1>
        <a:srgbClr val="000000"/>
      </a:dk1>
      <a:lt1>
        <a:srgbClr val="FFFFFF"/>
      </a:lt1>
      <a:dk2>
        <a:srgbClr val="E31837"/>
      </a:dk2>
      <a:lt2>
        <a:srgbClr val="CCCCCC"/>
      </a:lt2>
      <a:accent1>
        <a:srgbClr val="818286"/>
      </a:accent1>
      <a:accent2>
        <a:srgbClr val="00A9E0"/>
      </a:accent2>
      <a:accent3>
        <a:srgbClr val="6BA539"/>
      </a:accent3>
      <a:accent4>
        <a:srgbClr val="A05EB5"/>
      </a:accent4>
      <a:accent5>
        <a:srgbClr val="E87722"/>
      </a:accent5>
      <a:accent6>
        <a:srgbClr val="F2A900"/>
      </a:accent6>
      <a:hlink>
        <a:srgbClr val="097FFF"/>
      </a:hlink>
      <a:folHlink>
        <a:srgbClr val="005776"/>
      </a:folHlink>
    </a:clrScheme>
    <a:fontScheme name="MHFi 201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2D3D5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72390" tIns="72390" rIns="72390" bIns="7239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sz="10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>
    <a:extraClrScheme>
      <a:clrScheme name="MHP Global Strategy 1">
        <a:dk1>
          <a:srgbClr val="000000"/>
        </a:dk1>
        <a:lt1>
          <a:srgbClr val="FFFFFF"/>
        </a:lt1>
        <a:dk2>
          <a:srgbClr val="FFCC00"/>
        </a:dk2>
        <a:lt2>
          <a:srgbClr val="999999"/>
        </a:lt2>
        <a:accent1>
          <a:srgbClr val="FF6600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0000"/>
        </a:accent6>
        <a:hlink>
          <a:srgbClr val="339933"/>
        </a:hlink>
        <a:folHlink>
          <a:srgbClr val="0099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TM Insights Briefing Presentation">
  <a:themeElements>
    <a:clrScheme name="MHFi 2013">
      <a:dk1>
        <a:srgbClr val="000000"/>
      </a:dk1>
      <a:lt1>
        <a:srgbClr val="FFFFFF"/>
      </a:lt1>
      <a:dk2>
        <a:srgbClr val="E31837"/>
      </a:dk2>
      <a:lt2>
        <a:srgbClr val="CCCCCC"/>
      </a:lt2>
      <a:accent1>
        <a:srgbClr val="818286"/>
      </a:accent1>
      <a:accent2>
        <a:srgbClr val="00A9E0"/>
      </a:accent2>
      <a:accent3>
        <a:srgbClr val="6BA539"/>
      </a:accent3>
      <a:accent4>
        <a:srgbClr val="A05EB5"/>
      </a:accent4>
      <a:accent5>
        <a:srgbClr val="E87722"/>
      </a:accent5>
      <a:accent6>
        <a:srgbClr val="F2A900"/>
      </a:accent6>
      <a:hlink>
        <a:srgbClr val="097FFF"/>
      </a:hlink>
      <a:folHlink>
        <a:srgbClr val="005776"/>
      </a:folHlink>
    </a:clrScheme>
    <a:fontScheme name="MHFi 201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2D3D5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72390" tIns="72390" rIns="72390" bIns="7239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sz="10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>
    <a:extraClrScheme>
      <a:clrScheme name="MHP Global Strategy 1">
        <a:dk1>
          <a:srgbClr val="000000"/>
        </a:dk1>
        <a:lt1>
          <a:srgbClr val="FFFFFF"/>
        </a:lt1>
        <a:dk2>
          <a:srgbClr val="FFCC00"/>
        </a:dk2>
        <a:lt2>
          <a:srgbClr val="999999"/>
        </a:lt2>
        <a:accent1>
          <a:srgbClr val="FF6600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0000"/>
        </a:accent6>
        <a:hlink>
          <a:srgbClr val="339933"/>
        </a:hlink>
        <a:folHlink>
          <a:srgbClr val="0099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TM Insights Briefing Presentation">
  <a:themeElements>
    <a:clrScheme name="MHFi 2013">
      <a:dk1>
        <a:srgbClr val="000000"/>
      </a:dk1>
      <a:lt1>
        <a:srgbClr val="FFFFFF"/>
      </a:lt1>
      <a:dk2>
        <a:srgbClr val="E31837"/>
      </a:dk2>
      <a:lt2>
        <a:srgbClr val="CCCCCC"/>
      </a:lt2>
      <a:accent1>
        <a:srgbClr val="818286"/>
      </a:accent1>
      <a:accent2>
        <a:srgbClr val="00A9E0"/>
      </a:accent2>
      <a:accent3>
        <a:srgbClr val="6BA539"/>
      </a:accent3>
      <a:accent4>
        <a:srgbClr val="A05EB5"/>
      </a:accent4>
      <a:accent5>
        <a:srgbClr val="E87722"/>
      </a:accent5>
      <a:accent6>
        <a:srgbClr val="F2A900"/>
      </a:accent6>
      <a:hlink>
        <a:srgbClr val="097FFF"/>
      </a:hlink>
      <a:folHlink>
        <a:srgbClr val="005776"/>
      </a:folHlink>
    </a:clrScheme>
    <a:fontScheme name="MHFi 201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2D3D5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72390" tIns="72390" rIns="72390" bIns="7239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sz="10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>
    <a:extraClrScheme>
      <a:clrScheme name="MHP Global Strategy 1">
        <a:dk1>
          <a:srgbClr val="000000"/>
        </a:dk1>
        <a:lt1>
          <a:srgbClr val="FFFFFF"/>
        </a:lt1>
        <a:dk2>
          <a:srgbClr val="FFCC00"/>
        </a:dk2>
        <a:lt2>
          <a:srgbClr val="999999"/>
        </a:lt2>
        <a:accent1>
          <a:srgbClr val="FF6600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0000"/>
        </a:accent6>
        <a:hlink>
          <a:srgbClr val="339933"/>
        </a:hlink>
        <a:folHlink>
          <a:srgbClr val="0099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GRA Rebrand">
    <a:dk1>
      <a:srgbClr val="282828"/>
    </a:dk1>
    <a:lt1>
      <a:srgbClr val="D12435"/>
    </a:lt1>
    <a:dk2>
      <a:srgbClr val="EAEAEA"/>
    </a:dk2>
    <a:lt2>
      <a:srgbClr val="C8E6FF"/>
    </a:lt2>
    <a:accent1>
      <a:srgbClr val="77A4C8"/>
    </a:accent1>
    <a:accent2>
      <a:srgbClr val="838281"/>
    </a:accent2>
    <a:accent3>
      <a:srgbClr val="39A0D9"/>
    </a:accent3>
    <a:accent4>
      <a:srgbClr val="4D4948"/>
    </a:accent4>
    <a:accent5>
      <a:srgbClr val="437CB7"/>
    </a:accent5>
    <a:accent6>
      <a:srgbClr val="005E83"/>
    </a:accent6>
    <a:hlink>
      <a:srgbClr val="005E83"/>
    </a:hlink>
    <a:folHlink>
      <a:srgbClr val="838281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GRA Rebrand">
    <a:dk1>
      <a:srgbClr val="282828"/>
    </a:dk1>
    <a:lt1>
      <a:srgbClr val="D12435"/>
    </a:lt1>
    <a:dk2>
      <a:srgbClr val="EAEAEA"/>
    </a:dk2>
    <a:lt2>
      <a:srgbClr val="C8E6FF"/>
    </a:lt2>
    <a:accent1>
      <a:srgbClr val="77A4C8"/>
    </a:accent1>
    <a:accent2>
      <a:srgbClr val="838281"/>
    </a:accent2>
    <a:accent3>
      <a:srgbClr val="39A0D9"/>
    </a:accent3>
    <a:accent4>
      <a:srgbClr val="4D4948"/>
    </a:accent4>
    <a:accent5>
      <a:srgbClr val="437CB7"/>
    </a:accent5>
    <a:accent6>
      <a:srgbClr val="005E83"/>
    </a:accent6>
    <a:hlink>
      <a:srgbClr val="005E83"/>
    </a:hlink>
    <a:folHlink>
      <a:srgbClr val="838281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GRA Rebrand">
    <a:dk1>
      <a:srgbClr val="282828"/>
    </a:dk1>
    <a:lt1>
      <a:srgbClr val="D12435"/>
    </a:lt1>
    <a:dk2>
      <a:srgbClr val="EAEAEA"/>
    </a:dk2>
    <a:lt2>
      <a:srgbClr val="C8E6FF"/>
    </a:lt2>
    <a:accent1>
      <a:srgbClr val="77A4C8"/>
    </a:accent1>
    <a:accent2>
      <a:srgbClr val="838281"/>
    </a:accent2>
    <a:accent3>
      <a:srgbClr val="39A0D9"/>
    </a:accent3>
    <a:accent4>
      <a:srgbClr val="4D4948"/>
    </a:accent4>
    <a:accent5>
      <a:srgbClr val="437CB7"/>
    </a:accent5>
    <a:accent6>
      <a:srgbClr val="005E83"/>
    </a:accent6>
    <a:hlink>
      <a:srgbClr val="005E83"/>
    </a:hlink>
    <a:folHlink>
      <a:srgbClr val="838281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GRA Rebrand">
    <a:dk1>
      <a:srgbClr val="282828"/>
    </a:dk1>
    <a:lt1>
      <a:srgbClr val="D12435"/>
    </a:lt1>
    <a:dk2>
      <a:srgbClr val="EAEAEA"/>
    </a:dk2>
    <a:lt2>
      <a:srgbClr val="C8E6FF"/>
    </a:lt2>
    <a:accent1>
      <a:srgbClr val="77A4C8"/>
    </a:accent1>
    <a:accent2>
      <a:srgbClr val="838281"/>
    </a:accent2>
    <a:accent3>
      <a:srgbClr val="39A0D9"/>
    </a:accent3>
    <a:accent4>
      <a:srgbClr val="4D4948"/>
    </a:accent4>
    <a:accent5>
      <a:srgbClr val="437CB7"/>
    </a:accent5>
    <a:accent6>
      <a:srgbClr val="005E83"/>
    </a:accent6>
    <a:hlink>
      <a:srgbClr val="005E83"/>
    </a:hlink>
    <a:folHlink>
      <a:srgbClr val="838281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GRA Rebrand">
    <a:dk1>
      <a:srgbClr val="282828"/>
    </a:dk1>
    <a:lt1>
      <a:srgbClr val="D12435"/>
    </a:lt1>
    <a:dk2>
      <a:srgbClr val="EAEAEA"/>
    </a:dk2>
    <a:lt2>
      <a:srgbClr val="C8E6FF"/>
    </a:lt2>
    <a:accent1>
      <a:srgbClr val="77A4C8"/>
    </a:accent1>
    <a:accent2>
      <a:srgbClr val="838281"/>
    </a:accent2>
    <a:accent3>
      <a:srgbClr val="39A0D9"/>
    </a:accent3>
    <a:accent4>
      <a:srgbClr val="4D4948"/>
    </a:accent4>
    <a:accent5>
      <a:srgbClr val="437CB7"/>
    </a:accent5>
    <a:accent6>
      <a:srgbClr val="005E83"/>
    </a:accent6>
    <a:hlink>
      <a:srgbClr val="005E83"/>
    </a:hlink>
    <a:folHlink>
      <a:srgbClr val="838281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C311E387766B4B8829BE49D72EC209" ma:contentTypeVersion="0" ma:contentTypeDescription="Create a new document." ma:contentTypeScope="" ma:versionID="cfd47d42940043d0127af4f4823591cf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71A80BFF-A954-40E1-AB58-6D73E240ECD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9676857E-7970-4F2D-86AC-E279261C413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412A885-9ED9-4836-828F-CF2F6D38BC32}">
  <ds:schemaRefs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purl.org/dc/elements/1.1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288</TotalTime>
  <Words>1221</Words>
  <Application>Microsoft Office PowerPoint</Application>
  <PresentationFormat>On-screen Show (4:3)</PresentationFormat>
  <Paragraphs>344</Paragraphs>
  <Slides>24</Slides>
  <Notes>24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1" baseType="lpstr">
      <vt:lpstr>MHFi_Scr_Ext[1]</vt:lpstr>
      <vt:lpstr>Office Theme</vt:lpstr>
      <vt:lpstr>TM Insights Briefing Presentation</vt:lpstr>
      <vt:lpstr>1_TM Insights Briefing Presentation</vt:lpstr>
      <vt:lpstr>2_TM Insights Briefing Presentation</vt:lpstr>
      <vt:lpstr>3_TM Insights Briefing Presentation</vt:lpstr>
      <vt:lpstr>think-cell Slide</vt:lpstr>
      <vt:lpstr>Analysis of S&amp;P Global Market Intelligence  Glassdoor Reviews</vt:lpstr>
      <vt:lpstr>PowerPoint Presentation</vt:lpstr>
      <vt:lpstr>Executive Summary </vt:lpstr>
      <vt:lpstr>Methodology</vt:lpstr>
      <vt:lpstr>Overview -1</vt:lpstr>
      <vt:lpstr>Overview -2</vt:lpstr>
      <vt:lpstr>Overall Themes – Key Attributes</vt:lpstr>
      <vt:lpstr>Pros vs. Cons – Key Attributes Word Cloud</vt:lpstr>
      <vt:lpstr>Pros vs. Cons – Key Attributes Frequency</vt:lpstr>
      <vt:lpstr>Approval of the CEO from Mar 2009 to Sep 2015</vt:lpstr>
      <vt:lpstr>Recommender Score from Mar 2009 to Sep 2015</vt:lpstr>
      <vt:lpstr>PowerPoint Presentation</vt:lpstr>
      <vt:lpstr>PowerPoint Presentation</vt:lpstr>
      <vt:lpstr>PowerPoint Presentation</vt:lpstr>
      <vt:lpstr>PowerPoint Presentation</vt:lpstr>
      <vt:lpstr>Total Page Reviews with competitors</vt:lpstr>
      <vt:lpstr>New CEO Approval Trend after Sep 2015</vt:lpstr>
      <vt:lpstr>Rating and Outlook Across Locations </vt:lpstr>
      <vt:lpstr> Pros and Cons across Different Locations</vt:lpstr>
      <vt:lpstr>Rating and Outlook across positions</vt:lpstr>
      <vt:lpstr>Rating Distribution among the Key Attributes – 1</vt:lpstr>
      <vt:lpstr>Rating Distribution among the Key Attributes – 2</vt:lpstr>
      <vt:lpstr>Rating and Outlook across Employee Status</vt:lpstr>
      <vt:lpstr>Pros and Cons across Different Status</vt:lpstr>
    </vt:vector>
  </TitlesOfParts>
  <Company>The McGraw-Hill Companie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lank, Joe</dc:creator>
  <cp:lastModifiedBy>Yao, Stella</cp:lastModifiedBy>
  <cp:revision>1592</cp:revision>
  <cp:lastPrinted>2016-02-29T16:10:06Z</cp:lastPrinted>
  <dcterms:created xsi:type="dcterms:W3CDTF">2013-05-07T18:19:00Z</dcterms:created>
  <dcterms:modified xsi:type="dcterms:W3CDTF">2016-02-29T20:17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LeftOffset">
    <vt:r8>28</vt:r8>
  </property>
  <property fmtid="{D5CDD505-2E9C-101B-9397-08002B2CF9AE}" pid="3" name="TemplateRightOffset">
    <vt:r8>64</vt:r8>
  </property>
  <property fmtid="{D5CDD505-2E9C-101B-9397-08002B2CF9AE}" pid="4" name="TemplateTopOffset">
    <vt:r8>94</vt:r8>
  </property>
  <property fmtid="{D5CDD505-2E9C-101B-9397-08002B2CF9AE}" pid="5" name="TemplateBottomOffset">
    <vt:r8>38</vt:r8>
  </property>
  <property fmtid="{D5CDD505-2E9C-101B-9397-08002B2CF9AE}" pid="6" name="ContentTypeId">
    <vt:lpwstr>0x0101000DC311E387766B4B8829BE49D72EC209</vt:lpwstr>
  </property>
</Properties>
</file>